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88" r:id="rId2"/>
  </p:sldIdLst>
  <p:sldSz cx="12192000" cy="6858000"/>
  <p:notesSz cx="6858000" cy="9144000"/>
  <p:custDataLst>
    <p:tags r:id="rId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0" d="100"/>
          <a:sy n="60" d="100"/>
        </p:scale>
        <p:origin x="84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s://www.facebook.com/Infomineo/" TargetMode="External"/><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hyperlink" Target="https://infomineo.com/" TargetMode="External"/><Relationship Id="rId1" Type="http://schemas.openxmlformats.org/officeDocument/2006/relationships/slideMaster" Target="../slideMasters/slideMaster1.xml"/><Relationship Id="rId6" Type="http://schemas.openxmlformats.org/officeDocument/2006/relationships/hyperlink" Target="https://www.linkedin.com/company-beta/2416143/admin/updates/" TargetMode="External"/><Relationship Id="rId5" Type="http://schemas.openxmlformats.org/officeDocument/2006/relationships/image" Target="../media/image6.png"/><Relationship Id="rId4" Type="http://schemas.openxmlformats.org/officeDocument/2006/relationships/hyperlink" Target="https://infomineo.com/insights/blog/" TargetMode="Externa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Option 2)" type="title">
  <p:cSld name="Title Slide (Option 2)">
    <p:spTree>
      <p:nvGrpSpPr>
        <p:cNvPr id="1" name="Shape 32"/>
        <p:cNvGrpSpPr/>
        <p:nvPr/>
      </p:nvGrpSpPr>
      <p:grpSpPr>
        <a:xfrm>
          <a:off x="0" y="0"/>
          <a:ext cx="0" cy="0"/>
          <a:chOff x="0" y="0"/>
          <a:chExt cx="0" cy="0"/>
        </a:xfrm>
      </p:grpSpPr>
      <p:pic>
        <p:nvPicPr>
          <p:cNvPr id="33" name="Google Shape;33;p46" descr="A large body of water with a city in the background&#10;&#10;Description automatically generated"/>
          <p:cNvPicPr preferRelativeResize="0"/>
          <p:nvPr/>
        </p:nvPicPr>
        <p:blipFill rotWithShape="1">
          <a:blip r:embed="rId2">
            <a:alphaModFix/>
          </a:blip>
          <a:srcRect/>
          <a:stretch/>
        </p:blipFill>
        <p:spPr>
          <a:xfrm>
            <a:off x="269998" y="270000"/>
            <a:ext cx="11652001" cy="6318000"/>
          </a:xfrm>
          <a:prstGeom prst="rect">
            <a:avLst/>
          </a:prstGeom>
          <a:noFill/>
          <a:ln>
            <a:noFill/>
          </a:ln>
        </p:spPr>
      </p:pic>
      <p:sp>
        <p:nvSpPr>
          <p:cNvPr id="34" name="Google Shape;34;p46"/>
          <p:cNvSpPr/>
          <p:nvPr/>
        </p:nvSpPr>
        <p:spPr>
          <a:xfrm>
            <a:off x="536449" y="540000"/>
            <a:ext cx="6363891" cy="6318000"/>
          </a:xfrm>
          <a:prstGeom prst="rect">
            <a:avLst/>
          </a:prstGeom>
          <a:gradFill>
            <a:gsLst>
              <a:gs pos="0">
                <a:srgbClr val="062379"/>
              </a:gs>
              <a:gs pos="26000">
                <a:srgbClr val="0934B6">
                  <a:alpha val="89411"/>
                </a:srgbClr>
              </a:gs>
              <a:gs pos="64000">
                <a:srgbClr val="036DFF">
                  <a:alpha val="80000"/>
                </a:srgbClr>
              </a:gs>
              <a:gs pos="100000">
                <a:srgbClr val="43E1D3">
                  <a:alpha val="89411"/>
                </a:srgbClr>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 name="Google Shape;35;p46"/>
          <p:cNvSpPr txBox="1">
            <a:spLocks noGrp="1"/>
          </p:cNvSpPr>
          <p:nvPr>
            <p:ph type="ctrTitle"/>
          </p:nvPr>
        </p:nvSpPr>
        <p:spPr>
          <a:xfrm>
            <a:off x="902896" y="3605237"/>
            <a:ext cx="5337943" cy="692555"/>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lt1"/>
              </a:buClr>
              <a:buSzPts val="5000"/>
              <a:buFont typeface="Franklin Gothic"/>
              <a:buNone/>
              <a:defRPr sz="5000"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46"/>
          <p:cNvSpPr txBox="1">
            <a:spLocks noGrp="1"/>
          </p:cNvSpPr>
          <p:nvPr>
            <p:ph type="subTitle" idx="1"/>
          </p:nvPr>
        </p:nvSpPr>
        <p:spPr>
          <a:xfrm>
            <a:off x="902896" y="4348580"/>
            <a:ext cx="5337943" cy="420385"/>
          </a:xfrm>
          <a:prstGeom prst="rect">
            <a:avLst/>
          </a:prstGeom>
          <a:noFill/>
          <a:ln>
            <a:noFill/>
          </a:ln>
        </p:spPr>
        <p:txBody>
          <a:bodyPr spcFirstLastPara="1" wrap="square" lIns="0" tIns="0" rIns="0" bIns="0" anchor="t" anchorCtr="0">
            <a:spAutoFit/>
          </a:bodyPr>
          <a:lstStyle>
            <a:lvl1pPr lvl="0" algn="l">
              <a:lnSpc>
                <a:spcPct val="95000"/>
              </a:lnSpc>
              <a:spcBef>
                <a:spcPts val="1000"/>
              </a:spcBef>
              <a:spcAft>
                <a:spcPts val="0"/>
              </a:spcAft>
              <a:buClr>
                <a:schemeClr val="lt1"/>
              </a:buClr>
              <a:buSzPts val="2000"/>
              <a:buNone/>
              <a:defRPr sz="2000" cap="none">
                <a:solidFill>
                  <a:schemeClr val="lt1"/>
                </a:solidFill>
                <a:latin typeface="Libre Franklin"/>
                <a:ea typeface="Libre Franklin"/>
                <a:cs typeface="Libre Franklin"/>
                <a:sym typeface="Libre Franklin"/>
              </a:defRPr>
            </a:lvl1pPr>
            <a:lvl2pPr lvl="1" algn="l">
              <a:lnSpc>
                <a:spcPct val="95000"/>
              </a:lnSpc>
              <a:spcBef>
                <a:spcPts val="500"/>
              </a:spcBef>
              <a:spcAft>
                <a:spcPts val="0"/>
              </a:spcAft>
              <a:buSzPts val="1620"/>
              <a:buChar char="▪"/>
              <a:defRPr/>
            </a:lvl2pPr>
            <a:lvl3pPr lvl="2" algn="l">
              <a:lnSpc>
                <a:spcPct val="95000"/>
              </a:lnSpc>
              <a:spcBef>
                <a:spcPts val="300"/>
              </a:spcBef>
              <a:spcAft>
                <a:spcPts val="0"/>
              </a:spcAft>
              <a:buSzPts val="1800"/>
              <a:buChar char="−"/>
              <a:defRPr/>
            </a:lvl3pPr>
            <a:lvl4pPr lvl="3" algn="l">
              <a:lnSpc>
                <a:spcPct val="95000"/>
              </a:lnSpc>
              <a:spcBef>
                <a:spcPts val="100"/>
              </a:spcBef>
              <a:spcAft>
                <a:spcPts val="0"/>
              </a:spcAft>
              <a:buSzPts val="1620"/>
              <a:buChar char="▪"/>
              <a:defRPr/>
            </a:lvl4pPr>
            <a:lvl5pPr lvl="4" algn="l">
              <a:lnSpc>
                <a:spcPct val="95000"/>
              </a:lnSpc>
              <a:spcBef>
                <a:spcPts val="100"/>
              </a:spcBef>
              <a:spcAft>
                <a:spcPts val="0"/>
              </a:spcAft>
              <a:buSzPts val="1800"/>
              <a:buChar char="−"/>
              <a:defRPr/>
            </a:lvl5pPr>
            <a:lvl6pPr lvl="5" algn="l">
              <a:lnSpc>
                <a:spcPct val="90000"/>
              </a:lnSpc>
              <a:spcBef>
                <a:spcPts val="5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 name="Google Shape;37;p46"/>
          <p:cNvSpPr txBox="1">
            <a:spLocks noGrp="1"/>
          </p:cNvSpPr>
          <p:nvPr>
            <p:ph type="dt" idx="10"/>
          </p:nvPr>
        </p:nvSpPr>
        <p:spPr>
          <a:xfrm>
            <a:off x="902897" y="5923690"/>
            <a:ext cx="1599925" cy="2153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lt1"/>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8" name="Google Shape;38;p46"/>
          <p:cNvPicPr preferRelativeResize="0"/>
          <p:nvPr/>
        </p:nvPicPr>
        <p:blipFill rotWithShape="1">
          <a:blip r:embed="rId3">
            <a:alphaModFix/>
          </a:blip>
          <a:srcRect/>
          <a:stretch/>
        </p:blipFill>
        <p:spPr>
          <a:xfrm>
            <a:off x="902897" y="901733"/>
            <a:ext cx="2497452" cy="574280"/>
          </a:xfrm>
          <a:prstGeom prst="rect">
            <a:avLst/>
          </a:prstGeom>
          <a:noFill/>
          <a:ln>
            <a:noFill/>
          </a:ln>
        </p:spPr>
      </p:pic>
    </p:spTree>
    <p:extLst>
      <p:ext uri="{BB962C8B-B14F-4D97-AF65-F5344CB8AC3E}">
        <p14:creationId xmlns:p14="http://schemas.microsoft.com/office/powerpoint/2010/main" val="2018761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2 Blue on Left">
  <p:cSld name="1/2 Blue on Left">
    <p:spTree>
      <p:nvGrpSpPr>
        <p:cNvPr id="1" name="Shape 201"/>
        <p:cNvGrpSpPr/>
        <p:nvPr/>
      </p:nvGrpSpPr>
      <p:grpSpPr>
        <a:xfrm>
          <a:off x="0" y="0"/>
          <a:ext cx="0" cy="0"/>
          <a:chOff x="0" y="0"/>
          <a:chExt cx="0" cy="0"/>
        </a:xfrm>
      </p:grpSpPr>
      <p:sp>
        <p:nvSpPr>
          <p:cNvPr id="202" name="Google Shape;202;p64"/>
          <p:cNvSpPr/>
          <p:nvPr/>
        </p:nvSpPr>
        <p:spPr>
          <a:xfrm>
            <a:off x="1" y="-1"/>
            <a:ext cx="6098537"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64"/>
          <p:cNvSpPr txBox="1">
            <a:spLocks noGrp="1"/>
          </p:cNvSpPr>
          <p:nvPr>
            <p:ph type="title"/>
          </p:nvPr>
        </p:nvSpPr>
        <p:spPr>
          <a:xfrm>
            <a:off x="539400" y="562840"/>
            <a:ext cx="507432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64"/>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05" name="Google Shape;205;p64"/>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sp>
        <p:nvSpPr>
          <p:cNvPr id="206" name="Google Shape;206;p64"/>
          <p:cNvSpPr txBox="1">
            <a:spLocks noGrp="1"/>
          </p:cNvSpPr>
          <p:nvPr>
            <p:ph type="ftr" idx="11"/>
          </p:nvPr>
        </p:nvSpPr>
        <p:spPr>
          <a:xfrm>
            <a:off x="549232" y="6450257"/>
            <a:ext cx="507432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35508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Gradient BG (with Title)">
  <p:cSld name="Gradient BG (with Title)">
    <p:spTree>
      <p:nvGrpSpPr>
        <p:cNvPr id="1" name="Shape 207"/>
        <p:cNvGrpSpPr/>
        <p:nvPr/>
      </p:nvGrpSpPr>
      <p:grpSpPr>
        <a:xfrm>
          <a:off x="0" y="0"/>
          <a:ext cx="0" cy="0"/>
          <a:chOff x="0" y="0"/>
          <a:chExt cx="0" cy="0"/>
        </a:xfrm>
      </p:grpSpPr>
      <p:sp>
        <p:nvSpPr>
          <p:cNvPr id="208" name="Google Shape;208;p65"/>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 name="Google Shape;209;p65"/>
          <p:cNvSpPr txBox="1">
            <a:spLocks noGrp="1"/>
          </p:cNvSpPr>
          <p:nvPr>
            <p:ph type="title"/>
          </p:nvPr>
        </p:nvSpPr>
        <p:spPr>
          <a:xfrm>
            <a:off x="539400" y="560588"/>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10" name="Google Shape;210;p65"/>
          <p:cNvCxnSpPr/>
          <p:nvPr/>
        </p:nvCxnSpPr>
        <p:spPr>
          <a:xfrm>
            <a:off x="539400" y="484910"/>
            <a:ext cx="540000" cy="0"/>
          </a:xfrm>
          <a:prstGeom prst="straightConnector1">
            <a:avLst/>
          </a:prstGeom>
          <a:noFill/>
          <a:ln w="38100" cap="flat" cmpd="sng">
            <a:solidFill>
              <a:schemeClr val="lt1"/>
            </a:solidFill>
            <a:prstDash val="solid"/>
            <a:miter lim="800000"/>
            <a:headEnd type="none" w="sm" len="sm"/>
            <a:tailEnd type="none" w="sm" len="sm"/>
          </a:ln>
        </p:spPr>
      </p:cxnSp>
      <p:grpSp>
        <p:nvGrpSpPr>
          <p:cNvPr id="211" name="Google Shape;211;p65"/>
          <p:cNvGrpSpPr/>
          <p:nvPr/>
        </p:nvGrpSpPr>
        <p:grpSpPr>
          <a:xfrm>
            <a:off x="11998459" y="6162189"/>
            <a:ext cx="68500" cy="441925"/>
            <a:chOff x="11998459" y="6162188"/>
            <a:chExt cx="68500" cy="441925"/>
          </a:xfrm>
        </p:grpSpPr>
        <p:sp>
          <p:nvSpPr>
            <p:cNvPr id="212" name="Google Shape;212;p6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3" name="Google Shape;213;p6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 name="Google Shape;214;p6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 name="Google Shape;215;p6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6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 name="Google Shape;217;p6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 name="Google Shape;218;p6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 name="Google Shape;219;p6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0" name="Google Shape;220;p6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1" name="Google Shape;221;p6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2" name="Google Shape;222;p6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 name="Google Shape;223;p6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4" name="Google Shape;224;p6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25" name="Google Shape;225;p6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26" name="Google Shape;226;p6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27" name="Google Shape;227;p6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7865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1_Gradient BG (with Title)">
  <p:cSld name="1_Gradient BG (with Title)">
    <p:spTree>
      <p:nvGrpSpPr>
        <p:cNvPr id="1" name="Shape 228"/>
        <p:cNvGrpSpPr/>
        <p:nvPr/>
      </p:nvGrpSpPr>
      <p:grpSpPr>
        <a:xfrm>
          <a:off x="0" y="0"/>
          <a:ext cx="0" cy="0"/>
          <a:chOff x="0" y="0"/>
          <a:chExt cx="0" cy="0"/>
        </a:xfrm>
      </p:grpSpPr>
      <p:sp>
        <p:nvSpPr>
          <p:cNvPr id="229" name="Google Shape;229;p66"/>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nvGrpSpPr>
          <p:cNvPr id="230" name="Google Shape;230;p66"/>
          <p:cNvGrpSpPr/>
          <p:nvPr/>
        </p:nvGrpSpPr>
        <p:grpSpPr>
          <a:xfrm>
            <a:off x="11998459" y="6162189"/>
            <a:ext cx="68500" cy="441925"/>
            <a:chOff x="11998459" y="6162188"/>
            <a:chExt cx="68500" cy="441925"/>
          </a:xfrm>
        </p:grpSpPr>
        <p:sp>
          <p:nvSpPr>
            <p:cNvPr id="231" name="Google Shape;231;p66"/>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66"/>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3" name="Google Shape;233;p66"/>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66"/>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5" name="Google Shape;235;p66"/>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6" name="Google Shape;236;p66"/>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7" name="Google Shape;237;p66"/>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8" name="Google Shape;238;p66"/>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66"/>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0" name="Google Shape;240;p66"/>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6"/>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66"/>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 name="Google Shape;243;p66"/>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4" name="Google Shape;244;p66"/>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45" name="Google Shape;245;p66"/>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
        <p:nvSpPr>
          <p:cNvPr id="246" name="Google Shape;246;p66"/>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l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72816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3 Blue on Right">
  <p:cSld name="1/3 Blue on Right">
    <p:spTree>
      <p:nvGrpSpPr>
        <p:cNvPr id="1" name="Shape 247"/>
        <p:cNvGrpSpPr/>
        <p:nvPr/>
      </p:nvGrpSpPr>
      <p:grpSpPr>
        <a:xfrm>
          <a:off x="0" y="0"/>
          <a:ext cx="0" cy="0"/>
          <a:chOff x="0" y="0"/>
          <a:chExt cx="0" cy="0"/>
        </a:xfrm>
      </p:grpSpPr>
      <p:sp>
        <p:nvSpPr>
          <p:cNvPr id="248" name="Google Shape;248;p67"/>
          <p:cNvSpPr/>
          <p:nvPr/>
        </p:nvSpPr>
        <p:spPr>
          <a:xfrm>
            <a:off x="8134763" y="-1"/>
            <a:ext cx="4059776" cy="6858001"/>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p67"/>
          <p:cNvSpPr txBox="1">
            <a:spLocks noGrp="1"/>
          </p:cNvSpPr>
          <p:nvPr>
            <p:ph type="title"/>
          </p:nvPr>
        </p:nvSpPr>
        <p:spPr>
          <a:xfrm>
            <a:off x="539400" y="562841"/>
            <a:ext cx="726112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67"/>
          <p:cNvSpPr txBox="1">
            <a:spLocks noGrp="1"/>
          </p:cNvSpPr>
          <p:nvPr>
            <p:ph type="sldNum" idx="12"/>
          </p:nvPr>
        </p:nvSpPr>
        <p:spPr>
          <a:xfrm>
            <a:off x="11490454" y="6445294"/>
            <a:ext cx="150683"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51" name="Google Shape;251;p67"/>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grpSp>
        <p:nvGrpSpPr>
          <p:cNvPr id="252" name="Google Shape;252;p67"/>
          <p:cNvGrpSpPr/>
          <p:nvPr/>
        </p:nvGrpSpPr>
        <p:grpSpPr>
          <a:xfrm>
            <a:off x="11998459" y="6162189"/>
            <a:ext cx="68500" cy="441925"/>
            <a:chOff x="11998459" y="6162188"/>
            <a:chExt cx="68500" cy="441925"/>
          </a:xfrm>
        </p:grpSpPr>
        <p:sp>
          <p:nvSpPr>
            <p:cNvPr id="253" name="Google Shape;253;p67"/>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7"/>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 name="Google Shape;255;p67"/>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 name="Google Shape;256;p67"/>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67"/>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7"/>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 name="Google Shape;259;p67"/>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 name="Google Shape;260;p67"/>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 name="Google Shape;261;p67"/>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67"/>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67"/>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4" name="Google Shape;264;p67"/>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 name="Google Shape;265;p67"/>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66" name="Google Shape;266;p67"/>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67" name="Google Shape;267;p67"/>
          <p:cNvSpPr txBox="1">
            <a:spLocks noGrp="1"/>
          </p:cNvSpPr>
          <p:nvPr>
            <p:ph type="ftr" idx="11"/>
          </p:nvPr>
        </p:nvSpPr>
        <p:spPr>
          <a:xfrm>
            <a:off x="550863" y="6450257"/>
            <a:ext cx="7276401"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07829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Breaker Slide_2">
  <p:cSld name="Breaker Slide_2">
    <p:bg>
      <p:bgPr>
        <a:solidFill>
          <a:schemeClr val="lt2"/>
        </a:solidFill>
        <a:effectLst/>
      </p:bgPr>
    </p:bg>
    <p:spTree>
      <p:nvGrpSpPr>
        <p:cNvPr id="1" name="Shape 268"/>
        <p:cNvGrpSpPr/>
        <p:nvPr/>
      </p:nvGrpSpPr>
      <p:grpSpPr>
        <a:xfrm>
          <a:off x="0" y="0"/>
          <a:ext cx="0" cy="0"/>
          <a:chOff x="0" y="0"/>
          <a:chExt cx="0" cy="0"/>
        </a:xfrm>
      </p:grpSpPr>
      <p:pic>
        <p:nvPicPr>
          <p:cNvPr id="269" name="Google Shape;269;p6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270" name="Google Shape;270;p69"/>
          <p:cNvSpPr/>
          <p:nvPr/>
        </p:nvSpPr>
        <p:spPr>
          <a:xfrm>
            <a:off x="0" y="0"/>
            <a:ext cx="12192000" cy="6858000"/>
          </a:xfrm>
          <a:prstGeom prst="rect">
            <a:avLst/>
          </a:prstGeom>
          <a:gradFill>
            <a:gsLst>
              <a:gs pos="0">
                <a:srgbClr val="062379"/>
              </a:gs>
              <a:gs pos="16000">
                <a:srgbClr val="062379"/>
              </a:gs>
              <a:gs pos="55000">
                <a:srgbClr val="0934B6">
                  <a:alpha val="89411"/>
                </a:srgbClr>
              </a:gs>
              <a:gs pos="85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 name="Google Shape;271;p69"/>
          <p:cNvSpPr txBox="1">
            <a:spLocks noGrp="1"/>
          </p:cNvSpPr>
          <p:nvPr>
            <p:ph type="title"/>
          </p:nvPr>
        </p:nvSpPr>
        <p:spPr>
          <a:xfrm>
            <a:off x="992390" y="4396199"/>
            <a:ext cx="6785798"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2" name="Google Shape;272;p69"/>
          <p:cNvGrpSpPr/>
          <p:nvPr/>
        </p:nvGrpSpPr>
        <p:grpSpPr>
          <a:xfrm>
            <a:off x="11998459" y="6162189"/>
            <a:ext cx="68500" cy="441925"/>
            <a:chOff x="11998459" y="6162188"/>
            <a:chExt cx="68500" cy="441925"/>
          </a:xfrm>
        </p:grpSpPr>
        <p:sp>
          <p:nvSpPr>
            <p:cNvPr id="273" name="Google Shape;273;p69"/>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9"/>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5" name="Google Shape;275;p69"/>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 name="Google Shape;276;p69"/>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 name="Google Shape;277;p69"/>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 name="Google Shape;278;p69"/>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9"/>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9"/>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 name="Google Shape;281;p69"/>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 name="Google Shape;282;p69"/>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 name="Google Shape;283;p69"/>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 name="Google Shape;284;p69"/>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 name="Google Shape;285;p69"/>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6" name="Google Shape;286;p69"/>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287" name="Google Shape;287;p6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288" name="Google Shape;288;p69"/>
          <p:cNvCxnSpPr/>
          <p:nvPr/>
        </p:nvCxnSpPr>
        <p:spPr>
          <a:xfrm>
            <a:off x="992389" y="5712304"/>
            <a:ext cx="1542466"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4151934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Guides">
  <p:cSld name="Guides">
    <p:spTree>
      <p:nvGrpSpPr>
        <p:cNvPr id="1" name="Shape 289"/>
        <p:cNvGrpSpPr/>
        <p:nvPr/>
      </p:nvGrpSpPr>
      <p:grpSpPr>
        <a:xfrm>
          <a:off x="0" y="0"/>
          <a:ext cx="0" cy="0"/>
          <a:chOff x="0" y="0"/>
          <a:chExt cx="0" cy="0"/>
        </a:xfrm>
      </p:grpSpPr>
      <p:sp>
        <p:nvSpPr>
          <p:cNvPr id="290" name="Google Shape;290;p70"/>
          <p:cNvSpPr/>
          <p:nvPr/>
        </p:nvSpPr>
        <p:spPr>
          <a:xfrm>
            <a:off x="0" y="0"/>
            <a:ext cx="12193200" cy="6858000"/>
          </a:xfrm>
          <a:custGeom>
            <a:avLst/>
            <a:gdLst/>
            <a:ahLst/>
            <a:cxnLst/>
            <a:rect l="l" t="t" r="r" b="b"/>
            <a:pathLst>
              <a:path w="12193200" h="6858000" extrusionOk="0">
                <a:moveTo>
                  <a:pt x="566584" y="549276"/>
                </a:moveTo>
                <a:lnTo>
                  <a:pt x="566584" y="6308726"/>
                </a:lnTo>
                <a:lnTo>
                  <a:pt x="11641138" y="6308726"/>
                </a:lnTo>
                <a:lnTo>
                  <a:pt x="11641138" y="549276"/>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nvGrpSpPr>
          <p:cNvPr id="291" name="Google Shape;291;p70"/>
          <p:cNvGrpSpPr/>
          <p:nvPr/>
        </p:nvGrpSpPr>
        <p:grpSpPr>
          <a:xfrm>
            <a:off x="-599" y="549275"/>
            <a:ext cx="12193201" cy="5759450"/>
            <a:chOff x="-600" y="549275"/>
            <a:chExt cx="12193201" cy="5759450"/>
          </a:xfrm>
        </p:grpSpPr>
        <p:cxnSp>
          <p:nvCxnSpPr>
            <p:cNvPr id="292" name="Google Shape;292;p70"/>
            <p:cNvCxnSpPr/>
            <p:nvPr/>
          </p:nvCxnSpPr>
          <p:spPr>
            <a:xfrm>
              <a:off x="-600" y="54927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3" name="Google Shape;293;p70"/>
            <p:cNvCxnSpPr/>
            <p:nvPr/>
          </p:nvCxnSpPr>
          <p:spPr>
            <a:xfrm>
              <a:off x="-600" y="107286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4" name="Google Shape;294;p70"/>
            <p:cNvCxnSpPr/>
            <p:nvPr/>
          </p:nvCxnSpPr>
          <p:spPr>
            <a:xfrm>
              <a:off x="-600" y="133465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5" name="Google Shape;295;p70"/>
            <p:cNvCxnSpPr/>
            <p:nvPr/>
          </p:nvCxnSpPr>
          <p:spPr>
            <a:xfrm>
              <a:off x="-600" y="159644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6" name="Google Shape;296;p70"/>
            <p:cNvCxnSpPr/>
            <p:nvPr/>
          </p:nvCxnSpPr>
          <p:spPr>
            <a:xfrm>
              <a:off x="-600" y="185824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7" name="Google Shape;297;p70"/>
            <p:cNvCxnSpPr/>
            <p:nvPr/>
          </p:nvCxnSpPr>
          <p:spPr>
            <a:xfrm>
              <a:off x="-600" y="212003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8" name="Google Shape;298;p70"/>
            <p:cNvCxnSpPr/>
            <p:nvPr/>
          </p:nvCxnSpPr>
          <p:spPr>
            <a:xfrm>
              <a:off x="-600" y="238182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299" name="Google Shape;299;p70"/>
            <p:cNvCxnSpPr/>
            <p:nvPr/>
          </p:nvCxnSpPr>
          <p:spPr>
            <a:xfrm>
              <a:off x="-600" y="264361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0" name="Google Shape;300;p70"/>
            <p:cNvCxnSpPr/>
            <p:nvPr/>
          </p:nvCxnSpPr>
          <p:spPr>
            <a:xfrm>
              <a:off x="-600" y="290541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1" name="Google Shape;301;p70"/>
            <p:cNvCxnSpPr/>
            <p:nvPr/>
          </p:nvCxnSpPr>
          <p:spPr>
            <a:xfrm>
              <a:off x="-600" y="316720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2" name="Google Shape;302;p70"/>
            <p:cNvCxnSpPr/>
            <p:nvPr/>
          </p:nvCxnSpPr>
          <p:spPr>
            <a:xfrm>
              <a:off x="-600" y="342899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3" name="Google Shape;303;p70"/>
            <p:cNvCxnSpPr/>
            <p:nvPr/>
          </p:nvCxnSpPr>
          <p:spPr>
            <a:xfrm>
              <a:off x="-600" y="3690791"/>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4" name="Google Shape;304;p70"/>
            <p:cNvCxnSpPr/>
            <p:nvPr/>
          </p:nvCxnSpPr>
          <p:spPr>
            <a:xfrm>
              <a:off x="-600" y="3952584"/>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5" name="Google Shape;305;p70"/>
            <p:cNvCxnSpPr/>
            <p:nvPr/>
          </p:nvCxnSpPr>
          <p:spPr>
            <a:xfrm>
              <a:off x="-600" y="4214377"/>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6" name="Google Shape;306;p70"/>
            <p:cNvCxnSpPr/>
            <p:nvPr/>
          </p:nvCxnSpPr>
          <p:spPr>
            <a:xfrm>
              <a:off x="-600" y="4476170"/>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7" name="Google Shape;307;p70"/>
            <p:cNvCxnSpPr/>
            <p:nvPr/>
          </p:nvCxnSpPr>
          <p:spPr>
            <a:xfrm>
              <a:off x="-600" y="4737963"/>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8" name="Google Shape;308;p70"/>
            <p:cNvCxnSpPr/>
            <p:nvPr/>
          </p:nvCxnSpPr>
          <p:spPr>
            <a:xfrm>
              <a:off x="-600" y="4999756"/>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09" name="Google Shape;309;p70"/>
            <p:cNvCxnSpPr/>
            <p:nvPr/>
          </p:nvCxnSpPr>
          <p:spPr>
            <a:xfrm>
              <a:off x="-600" y="5261549"/>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0" name="Google Shape;310;p70"/>
            <p:cNvCxnSpPr/>
            <p:nvPr/>
          </p:nvCxnSpPr>
          <p:spPr>
            <a:xfrm>
              <a:off x="-600" y="5523342"/>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1" name="Google Shape;311;p70"/>
            <p:cNvCxnSpPr/>
            <p:nvPr/>
          </p:nvCxnSpPr>
          <p:spPr>
            <a:xfrm>
              <a:off x="-600" y="578513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2" name="Google Shape;312;p70"/>
            <p:cNvCxnSpPr/>
            <p:nvPr/>
          </p:nvCxnSpPr>
          <p:spPr>
            <a:xfrm>
              <a:off x="-600" y="81106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3" name="Google Shape;313;p70"/>
            <p:cNvCxnSpPr/>
            <p:nvPr/>
          </p:nvCxnSpPr>
          <p:spPr>
            <a:xfrm>
              <a:off x="-600" y="6308725"/>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cxnSp>
          <p:nvCxnSpPr>
            <p:cNvPr id="314" name="Google Shape;314;p70"/>
            <p:cNvCxnSpPr/>
            <p:nvPr/>
          </p:nvCxnSpPr>
          <p:spPr>
            <a:xfrm>
              <a:off x="-600" y="6046928"/>
              <a:ext cx="12193201" cy="0"/>
            </a:xfrm>
            <a:prstGeom prst="straightConnector1">
              <a:avLst/>
            </a:prstGeom>
            <a:noFill/>
            <a:ln w="9525" cap="flat" cmpd="sng">
              <a:solidFill>
                <a:schemeClr val="dk2">
                  <a:alpha val="20000"/>
                </a:schemeClr>
              </a:solidFill>
              <a:prstDash val="solid"/>
              <a:miter lim="800000"/>
              <a:headEnd type="none" w="sm" len="sm"/>
              <a:tailEnd type="none" w="sm" len="sm"/>
            </a:ln>
          </p:spPr>
        </p:cxnSp>
      </p:grpSp>
      <p:sp>
        <p:nvSpPr>
          <p:cNvPr id="315" name="Google Shape;315;p70"/>
          <p:cNvSpPr/>
          <p:nvPr/>
        </p:nvSpPr>
        <p:spPr>
          <a:xfrm>
            <a:off x="550264" y="6308722"/>
            <a:ext cx="11090873" cy="261799"/>
          </a:xfrm>
          <a:prstGeom prst="rect">
            <a:avLst/>
          </a:prstGeom>
          <a:solidFill>
            <a:srgbClr val="FF0000">
              <a:alpha val="9411"/>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70"/>
          <p:cNvSpPr/>
          <p:nvPr/>
        </p:nvSpPr>
        <p:spPr>
          <a:xfrm>
            <a:off x="550864" y="1348222"/>
            <a:ext cx="11105556" cy="509202"/>
          </a:xfrm>
          <a:prstGeom prst="rect">
            <a:avLst/>
          </a:prstGeom>
          <a:solidFill>
            <a:srgbClr val="FF0000">
              <a:alpha val="4313"/>
            </a:srgbClr>
          </a:solidFill>
          <a:ln>
            <a:noFill/>
          </a:ln>
        </p:spPr>
        <p:txBody>
          <a:bodyPr spcFirstLastPara="1" wrap="square" lIns="91422" tIns="45699" rIns="91422" bIns="45699"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70"/>
          <p:cNvSpPr/>
          <p:nvPr/>
        </p:nvSpPr>
        <p:spPr>
          <a:xfrm>
            <a:off x="550864" y="2120034"/>
            <a:ext cx="11090275" cy="4188692"/>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chemeClr val="dk2">
                <a:alpha val="34509"/>
              </a:schemeClr>
            </a:solidFill>
            <a:prstDash val="solid"/>
            <a:miter lim="800000"/>
            <a:headEnd type="none" w="sm" len="sm"/>
            <a:tailEnd type="none" w="sm" len="sm"/>
          </a:ln>
        </p:spPr>
        <p:txBody>
          <a:bodyPr spcFirstLastPara="1" wrap="square" lIns="91422" tIns="45699" rIns="91422" bIns="45699"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1200" b="0" i="0" u="none" strike="noStrike" cap="none">
              <a:solidFill>
                <a:schemeClr val="lt1"/>
              </a:solidFill>
              <a:latin typeface="Calibri"/>
              <a:ea typeface="Calibri"/>
              <a:cs typeface="Calibri"/>
              <a:sym typeface="Calibri"/>
            </a:endParaRPr>
          </a:p>
        </p:txBody>
      </p:sp>
      <p:grpSp>
        <p:nvGrpSpPr>
          <p:cNvPr id="318" name="Google Shape;318;p70"/>
          <p:cNvGrpSpPr/>
          <p:nvPr/>
        </p:nvGrpSpPr>
        <p:grpSpPr>
          <a:xfrm>
            <a:off x="1215339" y="1857423"/>
            <a:ext cx="9763000" cy="4458091"/>
            <a:chOff x="1215339" y="549274"/>
            <a:chExt cx="9763000" cy="5759450"/>
          </a:xfrm>
        </p:grpSpPr>
        <p:sp>
          <p:nvSpPr>
            <p:cNvPr id="319" name="Google Shape;319;p70"/>
            <p:cNvSpPr/>
            <p:nvPr/>
          </p:nvSpPr>
          <p:spPr>
            <a:xfrm>
              <a:off x="690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 name="Google Shape;320;p70"/>
            <p:cNvSpPr/>
            <p:nvPr/>
          </p:nvSpPr>
          <p:spPr>
            <a:xfrm>
              <a:off x="879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 name="Google Shape;321;p70"/>
            <p:cNvSpPr/>
            <p:nvPr/>
          </p:nvSpPr>
          <p:spPr>
            <a:xfrm>
              <a:off x="784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 name="Google Shape;322;p70"/>
            <p:cNvSpPr/>
            <p:nvPr/>
          </p:nvSpPr>
          <p:spPr>
            <a:xfrm>
              <a:off x="974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 name="Google Shape;323;p70"/>
            <p:cNvSpPr/>
            <p:nvPr/>
          </p:nvSpPr>
          <p:spPr>
            <a:xfrm>
              <a:off x="1069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 name="Google Shape;324;p70"/>
            <p:cNvSpPr/>
            <p:nvPr/>
          </p:nvSpPr>
          <p:spPr>
            <a:xfrm>
              <a:off x="5952839" y="549274"/>
              <a:ext cx="288000" cy="5759450"/>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70"/>
            <p:cNvSpPr/>
            <p:nvPr/>
          </p:nvSpPr>
          <p:spPr>
            <a:xfrm>
              <a:off x="121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6" name="Google Shape;326;p70"/>
            <p:cNvSpPr/>
            <p:nvPr/>
          </p:nvSpPr>
          <p:spPr>
            <a:xfrm>
              <a:off x="2162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 name="Google Shape;327;p70"/>
            <p:cNvSpPr/>
            <p:nvPr/>
          </p:nvSpPr>
          <p:spPr>
            <a:xfrm>
              <a:off x="3110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 name="Google Shape;328;p70"/>
            <p:cNvSpPr/>
            <p:nvPr/>
          </p:nvSpPr>
          <p:spPr>
            <a:xfrm>
              <a:off x="40578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 name="Google Shape;329;p70"/>
            <p:cNvSpPr/>
            <p:nvPr/>
          </p:nvSpPr>
          <p:spPr>
            <a:xfrm>
              <a:off x="5005339" y="549274"/>
              <a:ext cx="288000" cy="5759450"/>
            </a:xfrm>
            <a:prstGeom prst="rect">
              <a:avLst/>
            </a:prstGeom>
            <a:solidFill>
              <a:srgbClr val="9EB5FA">
                <a:alpha val="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0" name="Google Shape;330;p70"/>
          <p:cNvSpPr txBox="1"/>
          <p:nvPr/>
        </p:nvSpPr>
        <p:spPr>
          <a:xfrm>
            <a:off x="550863" y="6310249"/>
            <a:ext cx="9030915" cy="276999"/>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Footnotes/Note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Calibri"/>
              <a:buNone/>
            </a:pPr>
            <a:r>
              <a:rPr lang="en-US" sz="1000" b="0" i="0" u="none" strike="noStrike" cap="none">
                <a:solidFill>
                  <a:srgbClr val="7F7F7F"/>
                </a:solidFill>
                <a:latin typeface="Calibri"/>
                <a:ea typeface="Calibri"/>
                <a:cs typeface="Calibri"/>
                <a:sym typeface="Calibri"/>
              </a:rPr>
              <a:t>Source: Include a source here</a:t>
            </a:r>
            <a:endParaRPr sz="1400" b="0" i="0" u="none" strike="noStrike" cap="none">
              <a:solidFill>
                <a:srgbClr val="000000"/>
              </a:solidFill>
              <a:latin typeface="Arial"/>
              <a:ea typeface="Arial"/>
              <a:cs typeface="Arial"/>
              <a:sym typeface="Arial"/>
            </a:endParaRPr>
          </a:p>
        </p:txBody>
      </p:sp>
      <p:sp>
        <p:nvSpPr>
          <p:cNvPr id="331" name="Google Shape;331;p7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332" name="Google Shape;332;p7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3" name="Google Shape;333;p70"/>
          <p:cNvGrpSpPr/>
          <p:nvPr/>
        </p:nvGrpSpPr>
        <p:grpSpPr>
          <a:xfrm>
            <a:off x="550864" y="6156604"/>
            <a:ext cx="11089971" cy="55199"/>
            <a:chOff x="550864" y="6156603"/>
            <a:chExt cx="11089971" cy="55199"/>
          </a:xfrm>
        </p:grpSpPr>
        <p:sp>
          <p:nvSpPr>
            <p:cNvPr id="334" name="Google Shape;334;p70"/>
            <p:cNvSpPr/>
            <p:nvPr/>
          </p:nvSpPr>
          <p:spPr>
            <a:xfrm>
              <a:off x="550864"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 name="Google Shape;335;p70"/>
            <p:cNvSpPr/>
            <p:nvPr/>
          </p:nvSpPr>
          <p:spPr>
            <a:xfrm>
              <a:off x="5104050"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 name="Google Shape;336;p70"/>
            <p:cNvSpPr/>
            <p:nvPr/>
          </p:nvSpPr>
          <p:spPr>
            <a:xfrm>
              <a:off x="7380643"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0"/>
            <p:cNvSpPr/>
            <p:nvPr/>
          </p:nvSpPr>
          <p:spPr>
            <a:xfrm>
              <a:off x="9657235"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 name="Google Shape;338;p70"/>
            <p:cNvSpPr/>
            <p:nvPr/>
          </p:nvSpPr>
          <p:spPr>
            <a:xfrm>
              <a:off x="2827457" y="6156603"/>
              <a:ext cx="1983600" cy="55199"/>
            </a:xfrm>
            <a:prstGeom prst="rect">
              <a:avLst/>
            </a:prstGeom>
            <a:solidFill>
              <a:srgbClr val="9EB5FA">
                <a:alpha val="29411"/>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1720658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5_Full-width Page">
  <p:cSld name="5_Full-width Page">
    <p:spTree>
      <p:nvGrpSpPr>
        <p:cNvPr id="1" name="Shape 33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B3274E-F45F-3FF5-DFA6-4C4852FA3CA3}"/>
              </a:ext>
            </a:extLst>
          </p:cNvPr>
          <p:cNvGraphicFramePr>
            <a:graphicFrameLocks noChangeAspect="1"/>
          </p:cNvGraphicFramePr>
          <p:nvPr userDrawn="1">
            <p:custDataLst>
              <p:tags r:id="rId1"/>
            </p:custDataLst>
            <p:extLst>
              <p:ext uri="{D42A27DB-BD31-4B8C-83A1-F6EECF244321}">
                <p14:modId xmlns:p14="http://schemas.microsoft.com/office/powerpoint/2010/main" val="272567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80B3274E-F45F-3FF5-DFA6-4C4852FA3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0" name="Google Shape;340;p71"/>
          <p:cNvPicPr preferRelativeResize="0"/>
          <p:nvPr/>
        </p:nvPicPr>
        <p:blipFill rotWithShape="1">
          <a:blip r:embed="rId5">
            <a:alphaModFix/>
          </a:blip>
          <a:srcRect/>
          <a:stretch/>
        </p:blipFill>
        <p:spPr>
          <a:xfrm>
            <a:off x="2" y="0"/>
            <a:ext cx="3492498" cy="6858000"/>
          </a:xfrm>
          <a:prstGeom prst="rect">
            <a:avLst/>
          </a:prstGeom>
          <a:noFill/>
          <a:ln>
            <a:noFill/>
          </a:ln>
        </p:spPr>
      </p:pic>
      <p:sp>
        <p:nvSpPr>
          <p:cNvPr id="341" name="Google Shape;341;p71"/>
          <p:cNvSpPr/>
          <p:nvPr/>
        </p:nvSpPr>
        <p:spPr>
          <a:xfrm>
            <a:off x="1" y="-1"/>
            <a:ext cx="3492497" cy="6857999"/>
          </a:xfrm>
          <a:prstGeom prst="rect">
            <a:avLst/>
          </a:prstGeom>
          <a:gradFill>
            <a:gsLst>
              <a:gs pos="0">
                <a:schemeClr val="dk2"/>
              </a:gs>
              <a:gs pos="76000">
                <a:srgbClr val="4873F5">
                  <a:alpha val="84313"/>
                </a:srgbClr>
              </a:gs>
              <a:gs pos="100000">
                <a:srgbClr val="00B9FF">
                  <a:alpha val="80000"/>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2" name="Google Shape;342;p71"/>
          <p:cNvSpPr txBox="1">
            <a:spLocks noGrp="1"/>
          </p:cNvSpPr>
          <p:nvPr>
            <p:ph type="title"/>
          </p:nvPr>
        </p:nvSpPr>
        <p:spPr>
          <a:xfrm>
            <a:off x="376385" y="3013500"/>
            <a:ext cx="3023598"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200"/>
              <a:buFont typeface="Franklin Gothic"/>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343" name="Google Shape;343;p71"/>
          <p:cNvCxnSpPr>
            <a:cxnSpLocks/>
          </p:cNvCxnSpPr>
          <p:nvPr/>
        </p:nvCxnSpPr>
        <p:spPr>
          <a:xfrm>
            <a:off x="362847" y="2738541"/>
            <a:ext cx="540000" cy="0"/>
          </a:xfrm>
          <a:prstGeom prst="straightConnector1">
            <a:avLst/>
          </a:prstGeom>
          <a:noFill/>
          <a:ln w="3810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1519457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265035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4" y="6465615"/>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37938218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ub-Section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B52237-4F8A-4F28-B2AF-5014C898F7F8}"/>
              </a:ext>
            </a:extLst>
          </p:cNvPr>
          <p:cNvSpPr/>
          <p:nvPr userDrawn="1"/>
        </p:nvSpPr>
        <p:spPr>
          <a:xfrm>
            <a:off x="0" y="2"/>
            <a:ext cx="12192000" cy="6924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3" name="Rectangle 2">
            <a:extLst>
              <a:ext uri="{FF2B5EF4-FFF2-40B4-BE49-F238E27FC236}">
                <a16:creationId xmlns:a16="http://schemas.microsoft.com/office/drawing/2014/main" id="{06C46470-6B85-42AC-858F-07BE622DF338}"/>
              </a:ext>
            </a:extLst>
          </p:cNvPr>
          <p:cNvSpPr/>
          <p:nvPr userDrawn="1"/>
        </p:nvSpPr>
        <p:spPr>
          <a:xfrm>
            <a:off x="0" y="2600326"/>
            <a:ext cx="12192000" cy="34861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dirty="0">
              <a:solidFill>
                <a:srgbClr val="4B4B4B"/>
              </a:solidFill>
            </a:endParaRPr>
          </a:p>
        </p:txBody>
      </p:sp>
      <p:sp>
        <p:nvSpPr>
          <p:cNvPr id="13" name="Text Placeholder 1">
            <a:extLst>
              <a:ext uri="{FF2B5EF4-FFF2-40B4-BE49-F238E27FC236}">
                <a16:creationId xmlns:a16="http://schemas.microsoft.com/office/drawing/2014/main" id="{9EE6E236-101E-42EB-81FB-302691A30ACD}"/>
              </a:ext>
            </a:extLst>
          </p:cNvPr>
          <p:cNvSpPr>
            <a:spLocks noGrp="1"/>
          </p:cNvSpPr>
          <p:nvPr>
            <p:ph type="body" sz="quarter" idx="10" hasCustomPrompt="1"/>
          </p:nvPr>
        </p:nvSpPr>
        <p:spPr>
          <a:xfrm>
            <a:off x="568802" y="4090491"/>
            <a:ext cx="6467475" cy="435247"/>
          </a:xfrm>
          <a:prstGeom prst="rect">
            <a:avLst/>
          </a:prstGeom>
        </p:spPr>
        <p:txBody>
          <a:bodyPr/>
          <a:lstStyle>
            <a:lvl1pPr>
              <a:defRPr sz="2100">
                <a:solidFill>
                  <a:schemeClr val="bg1"/>
                </a:solidFill>
                <a:latin typeface="+mj-lt"/>
              </a:defRPr>
            </a:lvl1pPr>
          </a:lstStyle>
          <a:p>
            <a:r>
              <a:rPr lang="en-US" dirty="0"/>
              <a:t>Sub-Section in Report Title</a:t>
            </a:r>
          </a:p>
        </p:txBody>
      </p:sp>
      <p:sp>
        <p:nvSpPr>
          <p:cNvPr id="14" name="Text Placeholder 2">
            <a:extLst>
              <a:ext uri="{FF2B5EF4-FFF2-40B4-BE49-F238E27FC236}">
                <a16:creationId xmlns:a16="http://schemas.microsoft.com/office/drawing/2014/main" id="{F8AB815C-183A-4AED-B7E8-6684B137AD19}"/>
              </a:ext>
            </a:extLst>
          </p:cNvPr>
          <p:cNvSpPr>
            <a:spLocks noGrp="1"/>
          </p:cNvSpPr>
          <p:nvPr>
            <p:ph type="body" sz="quarter" idx="11" hasCustomPrompt="1"/>
          </p:nvPr>
        </p:nvSpPr>
        <p:spPr>
          <a:xfrm>
            <a:off x="568802" y="4841549"/>
            <a:ext cx="6467475" cy="362150"/>
          </a:xfrm>
          <a:prstGeom prst="rect">
            <a:avLst/>
          </a:prstGeom>
        </p:spPr>
        <p:txBody>
          <a:bodyPr/>
          <a:lstStyle>
            <a:lvl1pPr>
              <a:defRPr>
                <a:solidFill>
                  <a:schemeClr val="bg1"/>
                </a:solidFill>
                <a:latin typeface="+mj-lt"/>
              </a:defRPr>
            </a:lvl1pPr>
          </a:lstStyle>
          <a:p>
            <a:r>
              <a:rPr lang="en-US" dirty="0"/>
              <a:t>Add Text Here</a:t>
            </a:r>
          </a:p>
        </p:txBody>
      </p:sp>
    </p:spTree>
    <p:extLst>
      <p:ext uri="{BB962C8B-B14F-4D97-AF65-F5344CB8AC3E}">
        <p14:creationId xmlns:p14="http://schemas.microsoft.com/office/powerpoint/2010/main" val="79013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562708" y="130584"/>
            <a:ext cx="11066584" cy="627834"/>
          </a:xfrm>
          <a:prstGeom prst="rect">
            <a:avLst/>
          </a:prstGeom>
          <a:noFill/>
          <a:ln>
            <a:noFill/>
          </a:ln>
        </p:spPr>
        <p:txBody>
          <a:bodyPr lIns="91425" tIns="91425" rIns="91425" bIns="91425" anchor="ctr" anchorCtr="0"/>
          <a:lstStyle>
            <a:lvl1pPr algn="l" rtl="0">
              <a:lnSpc>
                <a:spcPct val="90000"/>
              </a:lnSpc>
              <a:spcBef>
                <a:spcPts val="0"/>
              </a:spcBef>
              <a:buClr>
                <a:schemeClr val="accent3"/>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1" name="Shape 31"/>
          <p:cNvSpPr txBox="1">
            <a:spLocks noGrp="1"/>
          </p:cNvSpPr>
          <p:nvPr>
            <p:ph type="body" idx="1"/>
          </p:nvPr>
        </p:nvSpPr>
        <p:spPr>
          <a:xfrm>
            <a:off x="562708" y="1556955"/>
            <a:ext cx="11066584" cy="455479"/>
          </a:xfrm>
          <a:prstGeom prst="rect">
            <a:avLst/>
          </a:prstGeom>
          <a:noFill/>
          <a:ln>
            <a:noFill/>
          </a:ln>
        </p:spPr>
        <p:txBody>
          <a:bodyPr lIns="91425" tIns="91425" rIns="91425" bIns="91425" anchor="t" anchorCtr="0"/>
          <a:lstStyle>
            <a:lvl1pPr marL="0" indent="0" algn="l" rtl="0">
              <a:lnSpc>
                <a:spcPct val="110000"/>
              </a:lnSpc>
              <a:spcBef>
                <a:spcPts val="0"/>
              </a:spcBef>
              <a:buClr>
                <a:schemeClr val="dk1"/>
              </a:buClr>
              <a:buFont typeface="Arial"/>
              <a:buNone/>
              <a:defRPr/>
            </a:lvl1pPr>
            <a:lvl2pPr marL="334118" indent="-134820" algn="l" rtl="0">
              <a:lnSpc>
                <a:spcPct val="110000"/>
              </a:lnSpc>
              <a:spcBef>
                <a:spcPts val="0"/>
              </a:spcBef>
              <a:buClr>
                <a:schemeClr val="accent3"/>
              </a:buClr>
              <a:buFont typeface="Arial"/>
              <a:buChar char="•"/>
              <a:defRPr/>
            </a:lvl2pPr>
            <a:lvl3pPr marL="577380" indent="-178782" algn="l" rtl="0">
              <a:lnSpc>
                <a:spcPct val="110000"/>
              </a:lnSpc>
              <a:spcBef>
                <a:spcPts val="0"/>
              </a:spcBef>
              <a:buClr>
                <a:srgbClr val="A9A9A9"/>
              </a:buClr>
              <a:buFont typeface="Arial"/>
              <a:buChar char="–"/>
              <a:defRPr/>
            </a:lvl3pPr>
            <a:lvl4pPr marL="820641" indent="-152405" algn="l" rtl="0">
              <a:lnSpc>
                <a:spcPct val="110000"/>
              </a:lnSpc>
              <a:spcBef>
                <a:spcPts val="0"/>
              </a:spcBef>
              <a:buClr>
                <a:srgbClr val="A9A9A9"/>
              </a:buClr>
              <a:buFont typeface="Arial"/>
              <a:buChar char="–"/>
              <a:defRPr/>
            </a:lvl4pPr>
            <a:lvl5pPr marL="1080023" indent="-177317" algn="l" rtl="0">
              <a:lnSpc>
                <a:spcPct val="110000"/>
              </a:lnSpc>
              <a:spcBef>
                <a:spcPts val="0"/>
              </a:spcBef>
              <a:buClr>
                <a:srgbClr val="A9A9A9"/>
              </a:buClr>
              <a:buFont typeface="Arial"/>
              <a:buChar char="–"/>
              <a:defRPr/>
            </a:lvl5pPr>
            <a:lvl6pPr marL="2321243" indent="-93787" algn="l" rtl="0">
              <a:spcBef>
                <a:spcPts val="369"/>
              </a:spcBef>
              <a:buClr>
                <a:schemeClr val="dk1"/>
              </a:buClr>
              <a:buFont typeface="Arial"/>
              <a:buChar char="•"/>
              <a:defRPr/>
            </a:lvl6pPr>
            <a:lvl7pPr marL="2743287" indent="-93787" algn="l" rtl="0">
              <a:spcBef>
                <a:spcPts val="369"/>
              </a:spcBef>
              <a:buClr>
                <a:schemeClr val="dk1"/>
              </a:buClr>
              <a:buFont typeface="Arial"/>
              <a:buChar char="•"/>
              <a:defRPr/>
            </a:lvl7pPr>
            <a:lvl8pPr marL="3165331" indent="-93787" algn="l" rtl="0">
              <a:spcBef>
                <a:spcPts val="369"/>
              </a:spcBef>
              <a:buClr>
                <a:schemeClr val="dk1"/>
              </a:buClr>
              <a:buFont typeface="Arial"/>
              <a:buChar char="•"/>
              <a:defRPr/>
            </a:lvl8pPr>
            <a:lvl9pPr marL="3587375" indent="-93787" algn="l" rtl="0">
              <a:spcBef>
                <a:spcPts val="369"/>
              </a:spcBef>
              <a:buClr>
                <a:schemeClr val="dk1"/>
              </a:buClr>
              <a:buFont typeface="Arial"/>
              <a:buChar char="•"/>
              <a:defRPr/>
            </a:lvl9pPr>
          </a:lstStyle>
          <a:p>
            <a:endParaRPr/>
          </a:p>
        </p:txBody>
      </p:sp>
    </p:spTree>
    <p:extLst>
      <p:ext uri="{BB962C8B-B14F-4D97-AF65-F5344CB8AC3E}">
        <p14:creationId xmlns:p14="http://schemas.microsoft.com/office/powerpoint/2010/main" val="3889447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reaker Slide_1">
  <p:cSld name="Breaker Slide_1">
    <p:bg>
      <p:bgPr>
        <a:solidFill>
          <a:schemeClr val="lt2"/>
        </a:solidFill>
        <a:effectLst/>
      </p:bgPr>
    </p:bg>
    <p:spTree>
      <p:nvGrpSpPr>
        <p:cNvPr id="1" name="Shape 43"/>
        <p:cNvGrpSpPr/>
        <p:nvPr/>
      </p:nvGrpSpPr>
      <p:grpSpPr>
        <a:xfrm>
          <a:off x="0" y="0"/>
          <a:ext cx="0" cy="0"/>
          <a:chOff x="0" y="0"/>
          <a:chExt cx="0" cy="0"/>
        </a:xfrm>
      </p:grpSpPr>
      <p:pic>
        <p:nvPicPr>
          <p:cNvPr id="44" name="Google Shape;44;p6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45" name="Google Shape;45;p68"/>
          <p:cNvSpPr/>
          <p:nvPr/>
        </p:nvSpPr>
        <p:spPr>
          <a:xfrm>
            <a:off x="1" y="0"/>
            <a:ext cx="2682587" cy="6858000"/>
          </a:xfrm>
          <a:prstGeom prst="rect">
            <a:avLst/>
          </a:prstGeom>
          <a:solidFill>
            <a:schemeClr val="lt2">
              <a:alpha val="69411"/>
            </a:schemeClr>
          </a:soli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8"/>
          <p:cNvSpPr/>
          <p:nvPr/>
        </p:nvSpPr>
        <p:spPr>
          <a:xfrm>
            <a:off x="1" y="3700464"/>
            <a:ext cx="9412014" cy="2414587"/>
          </a:xfrm>
          <a:prstGeom prst="rect">
            <a:avLst/>
          </a:prstGeom>
          <a:gradFill>
            <a:gsLst>
              <a:gs pos="0">
                <a:srgbClr val="062379"/>
              </a:gs>
              <a:gs pos="55000">
                <a:srgbClr val="385ED2"/>
              </a:gs>
              <a:gs pos="76000">
                <a:srgbClr val="4873F5">
                  <a:alpha val="89411"/>
                </a:srgbClr>
              </a:gs>
              <a:gs pos="100000">
                <a:srgbClr val="43E1D3">
                  <a:alpha val="89411"/>
                </a:srgbClr>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 name="Google Shape;47;p68"/>
          <p:cNvSpPr txBox="1">
            <a:spLocks noGrp="1"/>
          </p:cNvSpPr>
          <p:nvPr>
            <p:ph type="title"/>
          </p:nvPr>
        </p:nvSpPr>
        <p:spPr>
          <a:xfrm>
            <a:off x="737592" y="4477738"/>
            <a:ext cx="8494899" cy="831056"/>
          </a:xfrm>
          <a:prstGeom prst="rect">
            <a:avLst/>
          </a:prstGeom>
          <a:noFill/>
          <a:ln>
            <a:noFill/>
          </a:ln>
          <a:effectLst>
            <a:outerShdw blurRad="190500" algn="tl" rotWithShape="0">
              <a:srgbClr val="000000">
                <a:alpha val="29411"/>
              </a:srgbClr>
            </a:outerShdw>
          </a:effectLst>
        </p:spPr>
        <p:txBody>
          <a:bodyPr spcFirstLastPara="1" wrap="square" lIns="0" tIns="0" rIns="0" bIns="0" anchor="ctr" anchorCtr="0">
            <a:spAutoFit/>
          </a:bodyPr>
          <a:lstStyle>
            <a:lvl1pPr lvl="0" algn="l">
              <a:lnSpc>
                <a:spcPct val="90000"/>
              </a:lnSpc>
              <a:spcBef>
                <a:spcPts val="0"/>
              </a:spcBef>
              <a:spcAft>
                <a:spcPts val="0"/>
              </a:spcAft>
              <a:buClr>
                <a:schemeClr val="lt1"/>
              </a:buClr>
              <a:buSzPts val="6000"/>
              <a:buFont typeface="Franklin Gothic"/>
              <a:buNone/>
              <a:defRPr sz="60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 name="Google Shape;48;p68"/>
          <p:cNvGrpSpPr/>
          <p:nvPr/>
        </p:nvGrpSpPr>
        <p:grpSpPr>
          <a:xfrm>
            <a:off x="11998459" y="6162189"/>
            <a:ext cx="68500" cy="441925"/>
            <a:chOff x="11998459" y="6162188"/>
            <a:chExt cx="68500" cy="441925"/>
          </a:xfrm>
        </p:grpSpPr>
        <p:sp>
          <p:nvSpPr>
            <p:cNvPr id="49" name="Google Shape;49;p6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 name="Google Shape;50;p6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 name="Google Shape;51;p6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 name="Google Shape;52;p6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6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6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 name="Google Shape;55;p6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 name="Google Shape;56;p6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 name="Google Shape;57;p6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 name="Google Shape;58;p6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 name="Google Shape;59;p6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 name="Google Shape;60;p6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 name="Google Shape;61;p6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 name="Google Shape;62;p6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chemeClr val="lt1"/>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63" name="Google Shape;63;p6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9640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504507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a:xfrm>
            <a:off x="529007" y="448574"/>
            <a:ext cx="11133991" cy="276999"/>
          </a:xfrm>
          <a:prstGeom prst="rect">
            <a:avLst/>
          </a:prstGeom>
        </p:spPr>
        <p:txBody>
          <a:bodyPr lIns="0" rIns="0"/>
          <a:lstStyle>
            <a:lvl1pPr>
              <a:defRPr sz="2000">
                <a:solidFill>
                  <a:schemeClr val="accent1"/>
                </a:solidFill>
              </a:defRPr>
            </a:lvl1pPr>
          </a:lstStyle>
          <a:p>
            <a:r>
              <a:rPr lang="en-US" dirty="0"/>
              <a:t>Click to edit Master title style</a:t>
            </a:r>
          </a:p>
        </p:txBody>
      </p:sp>
      <p:sp>
        <p:nvSpPr>
          <p:cNvPr id="3" name="Content Placeholder 2"/>
          <p:cNvSpPr>
            <a:spLocks noGrp="1"/>
          </p:cNvSpPr>
          <p:nvPr>
            <p:ph idx="1" hasCustomPrompt="1"/>
          </p:nvPr>
        </p:nvSpPr>
        <p:spPr>
          <a:xfrm>
            <a:off x="529007" y="1628782"/>
            <a:ext cx="11133991" cy="932563"/>
          </a:xfrm>
          <a:prstGeom prst="rect">
            <a:avLst/>
          </a:prstGeom>
        </p:spPr>
        <p:txBody>
          <a:bodyPr lIns="0" rIns="0"/>
          <a:lstStyle>
            <a:lvl1pPr>
              <a:defRPr sz="1600">
                <a:solidFill>
                  <a:schemeClr val="tx1"/>
                </a:solidFill>
              </a:defRPr>
            </a:lvl1pPr>
            <a:lvl2pPr marL="304802" indent="-209551">
              <a:buClr>
                <a:schemeClr val="accent3"/>
              </a:buClr>
              <a:buFont typeface="Wingdings 2" panose="05020102010507070707" pitchFamily="18" charset="2"/>
              <a:buChar char=""/>
              <a:defRPr sz="1600">
                <a:solidFill>
                  <a:schemeClr val="tx1"/>
                </a:solidFill>
              </a:defRPr>
            </a:lvl2pPr>
            <a:lvl3pPr marL="647705" indent="-203201">
              <a:buClr>
                <a:schemeClr val="bg1">
                  <a:lumMod val="50000"/>
                </a:schemeClr>
              </a:buClr>
              <a:buFont typeface="Arial" panose="020B0604020202020204" pitchFamily="34" charset="0"/>
              <a:buChar cha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187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1519154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40797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218773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6292555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97536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AF019D7-0700-4AE7-A1BE-A3D0159A0DB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7" name="Footer Placeholder 4">
            <a:extLst>
              <a:ext uri="{FF2B5EF4-FFF2-40B4-BE49-F238E27FC236}">
                <a16:creationId xmlns:a16="http://schemas.microsoft.com/office/drawing/2014/main" id="{70188F3D-7189-4E9E-89E6-895DD2D93002}"/>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449585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31D3DB-AB84-4E5F-A44F-7037214B3A3B}"/>
              </a:ext>
            </a:extLst>
          </p:cNvPr>
          <p:cNvGraphicFramePr>
            <a:graphicFrameLocks noChangeAspect="1"/>
          </p:cNvGraphicFramePr>
          <p:nvPr userDrawn="1">
            <p:custDataLst>
              <p:tags r:id="rId1"/>
            </p:custDataLst>
            <p:extLst>
              <p:ext uri="{D42A27DB-BD31-4B8C-83A1-F6EECF244321}">
                <p14:modId xmlns:p14="http://schemas.microsoft.com/office/powerpoint/2010/main" val="18262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5831D3DB-AB84-4E5F-A44F-7037214B3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8B1CBF-9B2F-4725-98BB-E3D25711548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Franklin Gothic Demi" panose="020B0703020102020204" pitchFamily="34" charset="0"/>
              <a:ea typeface="+mj-ea"/>
              <a:cs typeface="Calibri" panose="020F0502020204030204" pitchFamily="34" charset="0"/>
              <a:sym typeface="Franklin Gothic Demi" panose="020B0703020102020204" pitchFamily="34" charset="0"/>
            </a:endParaRPr>
          </a:p>
        </p:txBody>
      </p:sp>
      <p:sp>
        <p:nvSpPr>
          <p:cNvPr id="2" name="Title 1">
            <a:extLst>
              <a:ext uri="{FF2B5EF4-FFF2-40B4-BE49-F238E27FC236}">
                <a16:creationId xmlns:a16="http://schemas.microsoft.com/office/drawing/2014/main" id="{C0C9F0F1-7099-47DE-967C-B674443711E4}"/>
              </a:ext>
            </a:extLst>
          </p:cNvPr>
          <p:cNvSpPr>
            <a:spLocks noGrp="1"/>
          </p:cNvSpPr>
          <p:nvPr>
            <p:ph type="title"/>
          </p:nvPr>
        </p:nvSpPr>
        <p:spPr>
          <a:xfrm>
            <a:off x="539400" y="560588"/>
            <a:ext cx="11089972" cy="418576"/>
          </a:xfrm>
        </p:spPr>
        <p:txBody>
          <a:bodyPr vert="horz" wrap="square" lIns="0" tIns="0" rIns="0" bIns="0" rtlCol="0" anchor="t">
            <a:spAutoFit/>
          </a:bodyPr>
          <a:lstStyle>
            <a:lvl1pPr>
              <a:defRPr lang="en-IN"/>
            </a:lvl1pPr>
          </a:lstStyle>
          <a:p>
            <a:pPr lvl="0">
              <a:lnSpc>
                <a:spcPct val="85000"/>
              </a:lnSpc>
            </a:pPr>
            <a:r>
              <a:rPr lang="en-US"/>
              <a:t>Click to edit Master title style</a:t>
            </a:r>
            <a:endParaRPr lang="en-IN"/>
          </a:p>
        </p:txBody>
      </p:sp>
      <p:sp>
        <p:nvSpPr>
          <p:cNvPr id="15" name="Text Placeholder 14">
            <a:extLst>
              <a:ext uri="{FF2B5EF4-FFF2-40B4-BE49-F238E27FC236}">
                <a16:creationId xmlns:a16="http://schemas.microsoft.com/office/drawing/2014/main" id="{3E780B1B-10A8-4275-8A37-EBFD2934904D}"/>
              </a:ext>
            </a:extLst>
          </p:cNvPr>
          <p:cNvSpPr>
            <a:spLocks noGrp="1"/>
          </p:cNvSpPr>
          <p:nvPr>
            <p:ph type="body" sz="quarter" idx="12" hasCustomPrompt="1"/>
          </p:nvPr>
        </p:nvSpPr>
        <p:spPr>
          <a:xfrm>
            <a:off x="550863" y="2175804"/>
            <a:ext cx="5400675" cy="1279838"/>
          </a:xfrm>
        </p:spPr>
        <p:txBody>
          <a:bodyPr vert="horz" lIns="0" tIns="0" rIns="0" bIns="0" rtlCol="0">
            <a:spAutoFit/>
          </a:bodyPr>
          <a:lstStyle>
            <a:lvl1pPr>
              <a:defRPr lang="en-US" sz="1400" dirty="0"/>
            </a:lvl1pPr>
            <a:lvl2pPr>
              <a:defRPr lang="en-US" sz="1400" dirty="0"/>
            </a:lvl2pPr>
            <a:lvl3pPr marL="179389" indent="0">
              <a:buNone/>
              <a:defRPr lang="en-US" sz="1400" kern="120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a:defRPr lang="en-US" sz="1400" dirty="0"/>
            </a:lvl4pPr>
            <a:lvl5pPr>
              <a:defRPr lang="en-IN" sz="1400" dirty="0"/>
            </a:lvl5pPr>
          </a:lstStyle>
          <a:p>
            <a:pPr lvl="0"/>
            <a:r>
              <a:rPr lang="en-US" dirty="0"/>
              <a:t>Paragraph Style</a:t>
            </a:r>
          </a:p>
          <a:p>
            <a:pPr lvl="1"/>
            <a:r>
              <a:rPr lang="en-US" dirty="0"/>
              <a:t>Bullet level 1</a:t>
            </a:r>
          </a:p>
          <a:p>
            <a:pPr marL="358780" lvl="2" indent="-179390" algn="l" defTabSz="914412" rtl="0" eaLnBrk="1" latinLnBrk="0" hangingPunct="1">
              <a:lnSpc>
                <a:spcPct val="95000"/>
              </a:lnSpc>
              <a:spcBef>
                <a:spcPts val="300"/>
              </a:spcBef>
              <a:buClr>
                <a:schemeClr val="tx2"/>
              </a:buClr>
              <a:buFont typeface="Calibri Light" panose="020F0302020204030204" pitchFamily="34" charset="0"/>
              <a:buChar char="−"/>
              <a:tabLst/>
            </a:pPr>
            <a:r>
              <a:rPr lang="en-US" dirty="0"/>
              <a:t>Bullet level 2</a:t>
            </a:r>
          </a:p>
          <a:p>
            <a:pPr lvl="3"/>
            <a:r>
              <a:rPr lang="en-US" dirty="0"/>
              <a:t>Bullet level 3</a:t>
            </a:r>
          </a:p>
          <a:p>
            <a:pPr lvl="4"/>
            <a:r>
              <a:rPr lang="en-US" dirty="0"/>
              <a:t>Bullet level 4</a:t>
            </a:r>
            <a:endParaRPr lang="en-IN" dirty="0"/>
          </a:p>
        </p:txBody>
      </p:sp>
      <p:sp>
        <p:nvSpPr>
          <p:cNvPr id="17" name="Text Placeholder 14">
            <a:extLst>
              <a:ext uri="{FF2B5EF4-FFF2-40B4-BE49-F238E27FC236}">
                <a16:creationId xmlns:a16="http://schemas.microsoft.com/office/drawing/2014/main" id="{9F3E203A-245A-43C9-8E76-679FC379C6C6}"/>
              </a:ext>
            </a:extLst>
          </p:cNvPr>
          <p:cNvSpPr>
            <a:spLocks noGrp="1"/>
          </p:cNvSpPr>
          <p:nvPr>
            <p:ph type="body" sz="quarter" idx="14" hasCustomPrompt="1"/>
          </p:nvPr>
        </p:nvSpPr>
        <p:spPr>
          <a:xfrm>
            <a:off x="550863"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9" name="Text Placeholder 14">
            <a:extLst>
              <a:ext uri="{FF2B5EF4-FFF2-40B4-BE49-F238E27FC236}">
                <a16:creationId xmlns:a16="http://schemas.microsoft.com/office/drawing/2014/main" id="{95469729-CF6F-44B6-8786-86953C3E484B}"/>
              </a:ext>
            </a:extLst>
          </p:cNvPr>
          <p:cNvSpPr>
            <a:spLocks noGrp="1"/>
          </p:cNvSpPr>
          <p:nvPr>
            <p:ph type="body" sz="quarter" idx="15" hasCustomPrompt="1"/>
          </p:nvPr>
        </p:nvSpPr>
        <p:spPr>
          <a:xfrm>
            <a:off x="6240464" y="2175805"/>
            <a:ext cx="5400675" cy="1279838"/>
          </a:xfrm>
        </p:spPr>
        <p:txBody>
          <a:bodyPr vert="horz" lIns="0" tIns="0" rIns="0" bIns="0" rtlCol="0">
            <a:spAutoFit/>
          </a:bodyPr>
          <a:lstStyle>
            <a:lvl1pPr>
              <a:defRPr lang="en-US" sz="1400" dirty="0"/>
            </a:lvl1pPr>
            <a:lvl2pPr>
              <a:defRPr lang="en-US" sz="1400" dirty="0"/>
            </a:lvl2pPr>
            <a:lvl3pPr>
              <a:defRPr lang="en-US" sz="1400" dirty="0"/>
            </a:lvl3pPr>
            <a:lvl4pPr>
              <a:defRPr lang="en-US" sz="1400" dirty="0"/>
            </a:lvl4pPr>
            <a:lvl5pPr>
              <a:defRPr lang="en-IN" sz="1400" dirty="0"/>
            </a:lvl5pPr>
          </a:lstStyle>
          <a:p>
            <a:pPr lvl="0"/>
            <a:r>
              <a:rPr lang="en-US" dirty="0"/>
              <a:t>Paragraph Style</a:t>
            </a:r>
          </a:p>
          <a:p>
            <a:pPr lvl="1"/>
            <a:r>
              <a:rPr lang="en-US" dirty="0"/>
              <a:t>Bullet level 1</a:t>
            </a:r>
          </a:p>
          <a:p>
            <a:pPr lvl="2"/>
            <a:r>
              <a:rPr lang="en-US" dirty="0"/>
              <a:t>Bullet level 2</a:t>
            </a:r>
          </a:p>
          <a:p>
            <a:pPr lvl="3"/>
            <a:r>
              <a:rPr lang="en-US" dirty="0"/>
              <a:t>Bullet level 3</a:t>
            </a:r>
          </a:p>
          <a:p>
            <a:pPr lvl="4"/>
            <a:r>
              <a:rPr lang="en-US" dirty="0"/>
              <a:t>Bullet level 4</a:t>
            </a:r>
            <a:endParaRPr lang="en-IN" dirty="0"/>
          </a:p>
        </p:txBody>
      </p:sp>
      <p:sp>
        <p:nvSpPr>
          <p:cNvPr id="20" name="Text Placeholder 14">
            <a:extLst>
              <a:ext uri="{FF2B5EF4-FFF2-40B4-BE49-F238E27FC236}">
                <a16:creationId xmlns:a16="http://schemas.microsoft.com/office/drawing/2014/main" id="{AF6053A9-CAF1-4055-A337-32B8BE758557}"/>
              </a:ext>
            </a:extLst>
          </p:cNvPr>
          <p:cNvSpPr>
            <a:spLocks noGrp="1"/>
          </p:cNvSpPr>
          <p:nvPr>
            <p:ph type="body" sz="quarter" idx="16" hasCustomPrompt="1"/>
          </p:nvPr>
        </p:nvSpPr>
        <p:spPr>
          <a:xfrm>
            <a:off x="6240464" y="1857377"/>
            <a:ext cx="5400675" cy="391389"/>
          </a:xfrm>
        </p:spPr>
        <p:txBody>
          <a:bodyPr>
            <a:spAutoFit/>
          </a:bodyPr>
          <a:lstStyle>
            <a:lvl1pPr>
              <a:defRPr sz="1800" b="1">
                <a:solidFill>
                  <a:schemeClr val="accent1"/>
                </a:solidFill>
                <a:latin typeface="+mn-lt"/>
                <a:cs typeface="Calibri" panose="020F0502020204030204" pitchFamily="34" charset="0"/>
                <a:sym typeface="Calibri" panose="020F0502020204030204" pitchFamily="34" charset="0"/>
              </a:defRPr>
            </a:lvl1pPr>
          </a:lstStyle>
          <a:p>
            <a:pPr lvl="0"/>
            <a:r>
              <a:rPr lang="en-US" dirty="0"/>
              <a:t>Heading</a:t>
            </a:r>
          </a:p>
        </p:txBody>
      </p:sp>
      <p:sp>
        <p:nvSpPr>
          <p:cNvPr id="11" name="Footer Placeholder 4">
            <a:extLst>
              <a:ext uri="{FF2B5EF4-FFF2-40B4-BE49-F238E27FC236}">
                <a16:creationId xmlns:a16="http://schemas.microsoft.com/office/drawing/2014/main" id="{456E97DD-069F-4133-A109-0593CB969E3F}"/>
              </a:ext>
            </a:extLst>
          </p:cNvPr>
          <p:cNvSpPr>
            <a:spLocks noGrp="1"/>
          </p:cNvSpPr>
          <p:nvPr>
            <p:ph type="ftr" sz="quarter" idx="3"/>
          </p:nvPr>
        </p:nvSpPr>
        <p:spPr>
          <a:xfrm>
            <a:off x="550865" y="6465616"/>
            <a:ext cx="488916" cy="138499"/>
          </a:xfrm>
          <a:prstGeom prst="rect">
            <a:avLst/>
          </a:prstGeom>
          <a:noFill/>
        </p:spPr>
        <p:txBody>
          <a:bodyPr wrap="none" lIns="0" tIns="0" rIns="0" bIns="0" rtlCol="0" anchor="b">
            <a:spAutoFit/>
          </a:bodyPr>
          <a:lstStyle>
            <a:lvl1pPr>
              <a:defRPr kumimoji="0" lang="en-IN" sz="1000" b="0" i="0" u="none" strike="noStrike" cap="none" spc="0" normalizeH="0" baseline="0" dirty="0">
                <a:ln>
                  <a:noFill/>
                </a:ln>
                <a:solidFill>
                  <a:schemeClr val="tx1"/>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a:lnSpc>
                <a:spcPct val="90000"/>
              </a:lnSpc>
            </a:pPr>
            <a:r>
              <a:rPr lang="en-IN" dirty="0"/>
              <a:t>SOURCE: </a:t>
            </a:r>
          </a:p>
        </p:txBody>
      </p:sp>
    </p:spTree>
    <p:extLst>
      <p:ext uri="{BB962C8B-B14F-4D97-AF65-F5344CB8AC3E}">
        <p14:creationId xmlns:p14="http://schemas.microsoft.com/office/powerpoint/2010/main" val="2123007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Last Page">
  <p:cSld name="Last Page">
    <p:spTree>
      <p:nvGrpSpPr>
        <p:cNvPr id="1" name="Shape 121"/>
        <p:cNvGrpSpPr/>
        <p:nvPr/>
      </p:nvGrpSpPr>
      <p:grpSpPr>
        <a:xfrm>
          <a:off x="0" y="0"/>
          <a:ext cx="0" cy="0"/>
          <a:chOff x="0" y="0"/>
          <a:chExt cx="0" cy="0"/>
        </a:xfrm>
      </p:grpSpPr>
      <p:sp>
        <p:nvSpPr>
          <p:cNvPr id="122" name="Google Shape;122;p57"/>
          <p:cNvSpPr/>
          <p:nvPr/>
        </p:nvSpPr>
        <p:spPr>
          <a:xfrm>
            <a:off x="0" y="0"/>
            <a:ext cx="12192000" cy="6858000"/>
          </a:xfrm>
          <a:prstGeom prst="rect">
            <a:avLst/>
          </a:prstGeom>
          <a:gradFill>
            <a:gsLst>
              <a:gs pos="0">
                <a:srgbClr val="062379"/>
              </a:gs>
              <a:gs pos="16000">
                <a:srgbClr val="062379"/>
              </a:gs>
              <a:gs pos="45000">
                <a:srgbClr val="0934B6">
                  <a:alpha val="89411"/>
                </a:srgbClr>
              </a:gs>
              <a:gs pos="79000">
                <a:srgbClr val="036DFF">
                  <a:alpha val="80000"/>
                </a:srgbClr>
              </a:gs>
              <a:gs pos="100000">
                <a:srgbClr val="43E1D3"/>
              </a:gs>
            </a:gsLst>
            <a:lin ang="2700000" scaled="0"/>
          </a:gradFill>
          <a:ln>
            <a:noFill/>
          </a:ln>
        </p:spPr>
        <p:txBody>
          <a:bodyPr spcFirstLastPara="1" wrap="square" lIns="91422" tIns="45699" rIns="91422" bIns="45699"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 name="Google Shape;123;p57"/>
          <p:cNvSpPr txBox="1"/>
          <p:nvPr/>
        </p:nvSpPr>
        <p:spPr>
          <a:xfrm>
            <a:off x="550863" y="5965462"/>
            <a:ext cx="3028906" cy="36933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sng" strike="noStrike" cap="none" dirty="0">
                <a:solidFill>
                  <a:srgbClr val="43E1D3"/>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infomineo.com</a:t>
            </a:r>
            <a:endParaRPr sz="1200" b="1" i="0" u="none" strike="noStrike" cap="none" dirty="0">
              <a:solidFill>
                <a:srgbClr val="43E1D3"/>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lt1"/>
                </a:solidFill>
                <a:latin typeface="Calibri"/>
                <a:ea typeface="Calibri"/>
                <a:cs typeface="Calibri"/>
                <a:sym typeface="Calibri"/>
              </a:rPr>
              <a:t>Infomineo Copyright © 2023. All rights reserved.</a:t>
            </a:r>
            <a:endParaRPr sz="1400" b="0" i="0" u="none" strike="noStrike" cap="none" dirty="0">
              <a:solidFill>
                <a:srgbClr val="000000"/>
              </a:solidFill>
              <a:latin typeface="Arial"/>
              <a:ea typeface="Arial"/>
              <a:cs typeface="Arial"/>
              <a:sym typeface="Arial"/>
            </a:endParaRPr>
          </a:p>
        </p:txBody>
      </p:sp>
      <p:pic>
        <p:nvPicPr>
          <p:cNvPr id="124" name="Google Shape;124;p57"/>
          <p:cNvPicPr preferRelativeResize="0"/>
          <p:nvPr/>
        </p:nvPicPr>
        <p:blipFill rotWithShape="1">
          <a:blip r:embed="rId3">
            <a:alphaModFix/>
          </a:blip>
          <a:srcRect/>
          <a:stretch/>
        </p:blipFill>
        <p:spPr>
          <a:xfrm>
            <a:off x="4256669" y="3006054"/>
            <a:ext cx="3678662" cy="845895"/>
          </a:xfrm>
          <a:prstGeom prst="rect">
            <a:avLst/>
          </a:prstGeom>
          <a:noFill/>
          <a:ln>
            <a:noFill/>
          </a:ln>
        </p:spPr>
      </p:pic>
      <p:pic>
        <p:nvPicPr>
          <p:cNvPr id="125" name="Google Shape;125;p57">
            <a:hlinkClick r:id="rId4"/>
          </p:cNvPr>
          <p:cNvPicPr preferRelativeResize="0"/>
          <p:nvPr/>
        </p:nvPicPr>
        <p:blipFill rotWithShape="1">
          <a:blip r:embed="rId5">
            <a:alphaModFix/>
          </a:blip>
          <a:srcRect/>
          <a:stretch/>
        </p:blipFill>
        <p:spPr>
          <a:xfrm>
            <a:off x="11323329" y="5965461"/>
            <a:ext cx="370332" cy="370332"/>
          </a:xfrm>
          <a:prstGeom prst="rect">
            <a:avLst/>
          </a:prstGeom>
          <a:noFill/>
          <a:ln>
            <a:noFill/>
          </a:ln>
        </p:spPr>
      </p:pic>
      <p:pic>
        <p:nvPicPr>
          <p:cNvPr id="126" name="Google Shape;126;p57">
            <a:hlinkClick r:id="rId6"/>
          </p:cNvPr>
          <p:cNvPicPr preferRelativeResize="0"/>
          <p:nvPr/>
        </p:nvPicPr>
        <p:blipFill rotWithShape="1">
          <a:blip r:embed="rId7">
            <a:alphaModFix/>
          </a:blip>
          <a:srcRect/>
          <a:stretch/>
        </p:blipFill>
        <p:spPr>
          <a:xfrm>
            <a:off x="10825965" y="5965461"/>
            <a:ext cx="368808" cy="370332"/>
          </a:xfrm>
          <a:prstGeom prst="rect">
            <a:avLst/>
          </a:prstGeom>
          <a:noFill/>
          <a:ln>
            <a:noFill/>
          </a:ln>
        </p:spPr>
      </p:pic>
      <p:pic>
        <p:nvPicPr>
          <p:cNvPr id="127" name="Google Shape;127;p57">
            <a:hlinkClick r:id="rId8"/>
          </p:cNvPr>
          <p:cNvPicPr preferRelativeResize="0"/>
          <p:nvPr/>
        </p:nvPicPr>
        <p:blipFill rotWithShape="1">
          <a:blip r:embed="rId9">
            <a:alphaModFix/>
          </a:blip>
          <a:srcRect/>
          <a:stretch/>
        </p:blipFill>
        <p:spPr>
          <a:xfrm>
            <a:off x="10328600" y="5965461"/>
            <a:ext cx="368808" cy="370332"/>
          </a:xfrm>
          <a:prstGeom prst="rect">
            <a:avLst/>
          </a:prstGeom>
          <a:noFill/>
          <a:ln>
            <a:noFill/>
          </a:ln>
        </p:spPr>
      </p:pic>
    </p:spTree>
    <p:extLst>
      <p:ext uri="{BB962C8B-B14F-4D97-AF65-F5344CB8AC3E}">
        <p14:creationId xmlns:p14="http://schemas.microsoft.com/office/powerpoint/2010/main" val="1568330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with background)">
  <p:cSld name="1_Title only (with background)">
    <p:bg>
      <p:bgPr>
        <a:solidFill>
          <a:schemeClr val="lt2"/>
        </a:solidFill>
        <a:effectLst/>
      </p:bgPr>
    </p:bg>
    <p:spTree>
      <p:nvGrpSpPr>
        <p:cNvPr id="1" name="Shape 128"/>
        <p:cNvGrpSpPr/>
        <p:nvPr/>
      </p:nvGrpSpPr>
      <p:grpSpPr>
        <a:xfrm>
          <a:off x="0" y="0"/>
          <a:ext cx="0" cy="0"/>
          <a:chOff x="0" y="0"/>
          <a:chExt cx="0" cy="0"/>
        </a:xfrm>
      </p:grpSpPr>
      <p:sp>
        <p:nvSpPr>
          <p:cNvPr id="129" name="Google Shape;129;p5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5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31" name="Google Shape;131;p5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50"/>
          <p:cNvSpPr txBox="1">
            <a:spLocks noGrp="1"/>
          </p:cNvSpPr>
          <p:nvPr>
            <p:ph type="body" idx="1"/>
          </p:nvPr>
        </p:nvSpPr>
        <p:spPr>
          <a:xfrm>
            <a:off x="550862" y="1028325"/>
            <a:ext cx="11089972" cy="420385"/>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rgbClr val="6D90F8"/>
              </a:buClr>
              <a:buSzPts val="2000"/>
              <a:buNone/>
              <a:defRPr sz="2000">
                <a:solidFill>
                  <a:srgbClr val="6D90F8"/>
                </a:solidFill>
                <a:latin typeface="Libre Franklin"/>
                <a:ea typeface="Libre Franklin"/>
                <a:cs typeface="Libre Franklin"/>
                <a:sym typeface="Libre Franklin"/>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48633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Without Title">
  <p:cSld name="Without Title">
    <p:spTree>
      <p:nvGrpSpPr>
        <p:cNvPr id="1" name="Shape 133"/>
        <p:cNvGrpSpPr/>
        <p:nvPr/>
      </p:nvGrpSpPr>
      <p:grpSpPr>
        <a:xfrm>
          <a:off x="0" y="0"/>
          <a:ext cx="0" cy="0"/>
          <a:chOff x="0" y="0"/>
          <a:chExt cx="0" cy="0"/>
        </a:xfrm>
      </p:grpSpPr>
      <p:sp>
        <p:nvSpPr>
          <p:cNvPr id="134" name="Google Shape;134;p58"/>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grpSp>
        <p:nvGrpSpPr>
          <p:cNvPr id="135" name="Google Shape;135;p58"/>
          <p:cNvGrpSpPr/>
          <p:nvPr/>
        </p:nvGrpSpPr>
        <p:grpSpPr>
          <a:xfrm>
            <a:off x="11998459" y="6162189"/>
            <a:ext cx="68500" cy="441925"/>
            <a:chOff x="11998459" y="6162188"/>
            <a:chExt cx="68500" cy="441925"/>
          </a:xfrm>
        </p:grpSpPr>
        <p:sp>
          <p:nvSpPr>
            <p:cNvPr id="136" name="Google Shape;136;p58"/>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7" name="Google Shape;137;p58"/>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8" name="Google Shape;138;p58"/>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9" name="Google Shape;139;p58"/>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0" name="Google Shape;140;p58"/>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1" name="Google Shape;141;p58"/>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2" name="Google Shape;142;p58"/>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3" name="Google Shape;143;p58"/>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4" name="Google Shape;144;p58"/>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5" name="Google Shape;145;p58"/>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6" name="Google Shape;146;p58"/>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7" name="Google Shape;147;p58"/>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8" name="Google Shape;148;p58"/>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149" name="Google Shape;149;p58"/>
          <p:cNvPicPr preferRelativeResize="0"/>
          <p:nvPr/>
        </p:nvPicPr>
        <p:blipFill rotWithShape="1">
          <a:blip r:embed="rId2">
            <a:alphaModFix/>
          </a:blip>
          <a:srcRect/>
          <a:stretch/>
        </p:blipFill>
        <p:spPr>
          <a:xfrm rot="-5400000">
            <a:off x="11811887" y="6349041"/>
            <a:ext cx="441438" cy="68706"/>
          </a:xfrm>
          <a:prstGeom prst="rect">
            <a:avLst/>
          </a:prstGeom>
          <a:noFill/>
          <a:ln>
            <a:noFill/>
          </a:ln>
        </p:spPr>
      </p:pic>
      <p:sp>
        <p:nvSpPr>
          <p:cNvPr id="150" name="Google Shape;150;p58"/>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sp>
        <p:nvSpPr>
          <p:cNvPr id="151" name="Google Shape;151;p58"/>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666418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152"/>
        <p:cNvGrpSpPr/>
        <p:nvPr/>
      </p:nvGrpSpPr>
      <p:grpSpPr>
        <a:xfrm>
          <a:off x="0" y="0"/>
          <a:ext cx="0" cy="0"/>
          <a:chOff x="0" y="0"/>
          <a:chExt cx="0" cy="0"/>
        </a:xfrm>
      </p:grpSpPr>
      <p:sp>
        <p:nvSpPr>
          <p:cNvPr id="153" name="Google Shape;153;p59"/>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59"/>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55" name="Google Shape;155;p59"/>
          <p:cNvSpPr txBox="1">
            <a:spLocks noGrp="1"/>
          </p:cNvSpPr>
          <p:nvPr>
            <p:ph type="body" idx="1"/>
          </p:nvPr>
        </p:nvSpPr>
        <p:spPr>
          <a:xfrm>
            <a:off x="550863"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6" name="Google Shape;156;p59"/>
          <p:cNvSpPr txBox="1">
            <a:spLocks noGrp="1"/>
          </p:cNvSpPr>
          <p:nvPr>
            <p:ph type="body" idx="2"/>
          </p:nvPr>
        </p:nvSpPr>
        <p:spPr>
          <a:xfrm>
            <a:off x="550863"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7" name="Google Shape;157;p59"/>
          <p:cNvSpPr txBox="1">
            <a:spLocks noGrp="1"/>
          </p:cNvSpPr>
          <p:nvPr>
            <p:ph type="body" idx="3"/>
          </p:nvPr>
        </p:nvSpPr>
        <p:spPr>
          <a:xfrm>
            <a:off x="6240464" y="2175805"/>
            <a:ext cx="5400675"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8" name="Google Shape;158;p59"/>
          <p:cNvSpPr txBox="1">
            <a:spLocks noGrp="1"/>
          </p:cNvSpPr>
          <p:nvPr>
            <p:ph type="body" idx="4"/>
          </p:nvPr>
        </p:nvSpPr>
        <p:spPr>
          <a:xfrm>
            <a:off x="6240464" y="1857376"/>
            <a:ext cx="5400675"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59" name="Google Shape;159;p59"/>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15118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3 Column">
    <p:spTree>
      <p:nvGrpSpPr>
        <p:cNvPr id="1" name="Shape 160"/>
        <p:cNvGrpSpPr/>
        <p:nvPr/>
      </p:nvGrpSpPr>
      <p:grpSpPr>
        <a:xfrm>
          <a:off x="0" y="0"/>
          <a:ext cx="0" cy="0"/>
          <a:chOff x="0" y="0"/>
          <a:chExt cx="0" cy="0"/>
        </a:xfrm>
      </p:grpSpPr>
      <p:sp>
        <p:nvSpPr>
          <p:cNvPr id="161" name="Google Shape;161;p60"/>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60"/>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63" name="Google Shape;163;p60"/>
          <p:cNvSpPr txBox="1">
            <a:spLocks noGrp="1"/>
          </p:cNvSpPr>
          <p:nvPr>
            <p:ph type="body" idx="1"/>
          </p:nvPr>
        </p:nvSpPr>
        <p:spPr>
          <a:xfrm>
            <a:off x="550865" y="2175805"/>
            <a:ext cx="3506976"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4" name="Google Shape;164;p60"/>
          <p:cNvSpPr txBox="1">
            <a:spLocks noGrp="1"/>
          </p:cNvSpPr>
          <p:nvPr>
            <p:ph type="body" idx="2"/>
          </p:nvPr>
        </p:nvSpPr>
        <p:spPr>
          <a:xfrm>
            <a:off x="550865" y="1857376"/>
            <a:ext cx="3506976"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5" name="Google Shape;165;p60"/>
          <p:cNvSpPr txBox="1">
            <a:spLocks noGrp="1"/>
          </p:cNvSpPr>
          <p:nvPr>
            <p:ph type="body" idx="3"/>
          </p:nvPr>
        </p:nvSpPr>
        <p:spPr>
          <a:xfrm>
            <a:off x="8135839"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6" name="Google Shape;166;p60"/>
          <p:cNvSpPr txBox="1">
            <a:spLocks noGrp="1"/>
          </p:cNvSpPr>
          <p:nvPr>
            <p:ph type="body" idx="4"/>
          </p:nvPr>
        </p:nvSpPr>
        <p:spPr>
          <a:xfrm>
            <a:off x="8135839"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7" name="Google Shape;167;p60"/>
          <p:cNvSpPr txBox="1">
            <a:spLocks noGrp="1"/>
          </p:cNvSpPr>
          <p:nvPr>
            <p:ph type="body" idx="5"/>
          </p:nvPr>
        </p:nvSpPr>
        <p:spPr>
          <a:xfrm>
            <a:off x="4344162" y="2175805"/>
            <a:ext cx="35053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8" name="Google Shape;168;p60"/>
          <p:cNvSpPr txBox="1">
            <a:spLocks noGrp="1"/>
          </p:cNvSpPr>
          <p:nvPr>
            <p:ph type="body" idx="6"/>
          </p:nvPr>
        </p:nvSpPr>
        <p:spPr>
          <a:xfrm>
            <a:off x="4344162" y="1857376"/>
            <a:ext cx="35053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69" name="Google Shape;169;p60"/>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56208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182"/>
        <p:cNvGrpSpPr/>
        <p:nvPr/>
      </p:nvGrpSpPr>
      <p:grpSpPr>
        <a:xfrm>
          <a:off x="0" y="0"/>
          <a:ext cx="0" cy="0"/>
          <a:chOff x="0" y="0"/>
          <a:chExt cx="0" cy="0"/>
        </a:xfrm>
      </p:grpSpPr>
      <p:sp>
        <p:nvSpPr>
          <p:cNvPr id="183" name="Google Shape;183;p62"/>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200"/>
              <a:buFont typeface="Franklin Gothic"/>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62"/>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185" name="Google Shape;185;p62"/>
          <p:cNvSpPr txBox="1">
            <a:spLocks noGrp="1"/>
          </p:cNvSpPr>
          <p:nvPr>
            <p:ph type="body" idx="1"/>
          </p:nvPr>
        </p:nvSpPr>
        <p:spPr>
          <a:xfrm>
            <a:off x="550865"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6" name="Google Shape;186;p62"/>
          <p:cNvSpPr txBox="1">
            <a:spLocks noGrp="1"/>
          </p:cNvSpPr>
          <p:nvPr>
            <p:ph type="body" idx="2"/>
          </p:nvPr>
        </p:nvSpPr>
        <p:spPr>
          <a:xfrm>
            <a:off x="550865"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7" name="Google Shape;187;p62"/>
          <p:cNvSpPr txBox="1">
            <a:spLocks noGrp="1"/>
          </p:cNvSpPr>
          <p:nvPr>
            <p:ph type="body" idx="3"/>
          </p:nvPr>
        </p:nvSpPr>
        <p:spPr>
          <a:xfrm>
            <a:off x="5104050"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8" name="Google Shape;188;p62"/>
          <p:cNvSpPr txBox="1">
            <a:spLocks noGrp="1"/>
          </p:cNvSpPr>
          <p:nvPr>
            <p:ph type="body" idx="4"/>
          </p:nvPr>
        </p:nvSpPr>
        <p:spPr>
          <a:xfrm>
            <a:off x="5104050"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89" name="Google Shape;189;p62"/>
          <p:cNvSpPr txBox="1">
            <a:spLocks noGrp="1"/>
          </p:cNvSpPr>
          <p:nvPr>
            <p:ph type="body" idx="5"/>
          </p:nvPr>
        </p:nvSpPr>
        <p:spPr>
          <a:xfrm>
            <a:off x="2827458" y="2175805"/>
            <a:ext cx="1983600"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228602" algn="l">
              <a:lnSpc>
                <a:spcPct val="95000"/>
              </a:lnSpc>
              <a:spcBef>
                <a:spcPts val="300"/>
              </a:spcBef>
              <a:spcAft>
                <a:spcPts val="0"/>
              </a:spcAft>
              <a:buSzPts val="1400"/>
              <a:buNone/>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0" name="Google Shape;190;p62"/>
          <p:cNvSpPr txBox="1">
            <a:spLocks noGrp="1"/>
          </p:cNvSpPr>
          <p:nvPr>
            <p:ph type="body" idx="6"/>
          </p:nvPr>
        </p:nvSpPr>
        <p:spPr>
          <a:xfrm>
            <a:off x="2827458" y="1857376"/>
            <a:ext cx="1983600"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1" name="Google Shape;191;p62"/>
          <p:cNvSpPr txBox="1">
            <a:spLocks noGrp="1"/>
          </p:cNvSpPr>
          <p:nvPr>
            <p:ph type="body" idx="7"/>
          </p:nvPr>
        </p:nvSpPr>
        <p:spPr>
          <a:xfrm>
            <a:off x="7380643"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2" name="Google Shape;192;p62"/>
          <p:cNvSpPr txBox="1">
            <a:spLocks noGrp="1"/>
          </p:cNvSpPr>
          <p:nvPr>
            <p:ph type="body" idx="8"/>
          </p:nvPr>
        </p:nvSpPr>
        <p:spPr>
          <a:xfrm>
            <a:off x="7380643"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3" name="Google Shape;193;p62"/>
          <p:cNvSpPr txBox="1">
            <a:spLocks noGrp="1"/>
          </p:cNvSpPr>
          <p:nvPr>
            <p:ph type="body" idx="9"/>
          </p:nvPr>
        </p:nvSpPr>
        <p:spPr>
          <a:xfrm>
            <a:off x="9660801" y="2175805"/>
            <a:ext cx="1980034" cy="332608"/>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dk1"/>
              </a:buClr>
              <a:buSzPts val="1400"/>
              <a:buNone/>
              <a:defRPr sz="1400">
                <a:latin typeface="Calibri"/>
                <a:ea typeface="Calibri"/>
                <a:cs typeface="Calibri"/>
                <a:sym typeface="Calibri"/>
              </a:defRPr>
            </a:lvl1pPr>
            <a:lvl2pPr marL="914406" lvl="1" indent="-308612" algn="l">
              <a:lnSpc>
                <a:spcPct val="95000"/>
              </a:lnSpc>
              <a:spcBef>
                <a:spcPts val="500"/>
              </a:spcBef>
              <a:spcAft>
                <a:spcPts val="0"/>
              </a:spcAft>
              <a:buSzPts val="1260"/>
              <a:buChar char="▪"/>
              <a:defRPr sz="1400">
                <a:latin typeface="Calibri"/>
                <a:ea typeface="Calibri"/>
                <a:cs typeface="Calibri"/>
                <a:sym typeface="Calibri"/>
              </a:defRPr>
            </a:lvl2pPr>
            <a:lvl3pPr marL="1371609" lvl="2" indent="-317502" algn="l">
              <a:lnSpc>
                <a:spcPct val="95000"/>
              </a:lnSpc>
              <a:spcBef>
                <a:spcPts val="300"/>
              </a:spcBef>
              <a:spcAft>
                <a:spcPts val="0"/>
              </a:spcAft>
              <a:buSzPts val="1400"/>
              <a:buChar char="−"/>
              <a:defRPr sz="1400">
                <a:latin typeface="Calibri"/>
                <a:ea typeface="Calibri"/>
                <a:cs typeface="Calibri"/>
                <a:sym typeface="Calibri"/>
              </a:defRPr>
            </a:lvl3pPr>
            <a:lvl4pPr marL="1828812" lvl="3" indent="-308612" algn="l">
              <a:lnSpc>
                <a:spcPct val="95000"/>
              </a:lnSpc>
              <a:spcBef>
                <a:spcPts val="100"/>
              </a:spcBef>
              <a:spcAft>
                <a:spcPts val="0"/>
              </a:spcAft>
              <a:buSzPts val="1260"/>
              <a:buChar char="▪"/>
              <a:defRPr sz="1400">
                <a:latin typeface="Calibri"/>
                <a:ea typeface="Calibri"/>
                <a:cs typeface="Calibri"/>
                <a:sym typeface="Calibri"/>
              </a:defRPr>
            </a:lvl4pPr>
            <a:lvl5pPr marL="2286015" lvl="4" indent="-317502" algn="l">
              <a:lnSpc>
                <a:spcPct val="95000"/>
              </a:lnSpc>
              <a:spcBef>
                <a:spcPts val="100"/>
              </a:spcBef>
              <a:spcAft>
                <a:spcPts val="0"/>
              </a:spcAft>
              <a:buSzPts val="1400"/>
              <a:buChar char="−"/>
              <a:defRPr sz="1400">
                <a:latin typeface="Calibri"/>
                <a:ea typeface="Calibri"/>
                <a:cs typeface="Calibri"/>
                <a:sym typeface="Calibri"/>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4" name="Google Shape;194;p62"/>
          <p:cNvSpPr txBox="1">
            <a:spLocks noGrp="1"/>
          </p:cNvSpPr>
          <p:nvPr>
            <p:ph type="body" idx="13"/>
          </p:nvPr>
        </p:nvSpPr>
        <p:spPr>
          <a:xfrm>
            <a:off x="9660801" y="1857376"/>
            <a:ext cx="1980034" cy="391126"/>
          </a:xfrm>
          <a:prstGeom prst="rect">
            <a:avLst/>
          </a:prstGeom>
          <a:noFill/>
          <a:ln>
            <a:noFill/>
          </a:ln>
        </p:spPr>
        <p:txBody>
          <a:bodyPr spcFirstLastPara="1" wrap="square" lIns="0" tIns="0" rIns="0" bIns="0" anchor="t" anchorCtr="0">
            <a:spAutoFit/>
          </a:bodyPr>
          <a:lstStyle>
            <a:lvl1pPr marL="457203" lvl="0" indent="-228602" algn="l">
              <a:lnSpc>
                <a:spcPct val="95000"/>
              </a:lnSpc>
              <a:spcBef>
                <a:spcPts val="1000"/>
              </a:spcBef>
              <a:spcAft>
                <a:spcPts val="0"/>
              </a:spcAft>
              <a:buClr>
                <a:schemeClr val="accent1"/>
              </a:buClr>
              <a:buSzPts val="1800"/>
              <a:buNone/>
              <a:defRPr sz="1800" b="1">
                <a:solidFill>
                  <a:schemeClr val="accent1"/>
                </a:solidFill>
                <a:latin typeface="Calibri"/>
                <a:ea typeface="Calibri"/>
                <a:cs typeface="Calibri"/>
                <a:sym typeface="Calibri"/>
              </a:defRPr>
            </a:lvl1pPr>
            <a:lvl2pPr marL="914406" lvl="1" indent="-331471" algn="l">
              <a:lnSpc>
                <a:spcPct val="95000"/>
              </a:lnSpc>
              <a:spcBef>
                <a:spcPts val="500"/>
              </a:spcBef>
              <a:spcAft>
                <a:spcPts val="0"/>
              </a:spcAft>
              <a:buSzPts val="1620"/>
              <a:buChar char="▪"/>
              <a:defRPr/>
            </a:lvl2pPr>
            <a:lvl3pPr marL="1371609" lvl="2" indent="-342903" algn="l">
              <a:lnSpc>
                <a:spcPct val="95000"/>
              </a:lnSpc>
              <a:spcBef>
                <a:spcPts val="300"/>
              </a:spcBef>
              <a:spcAft>
                <a:spcPts val="0"/>
              </a:spcAft>
              <a:buSzPts val="1800"/>
              <a:buChar char="−"/>
              <a:defRPr/>
            </a:lvl3pPr>
            <a:lvl4pPr marL="1828812" lvl="3" indent="-331471" algn="l">
              <a:lnSpc>
                <a:spcPct val="95000"/>
              </a:lnSpc>
              <a:spcBef>
                <a:spcPts val="100"/>
              </a:spcBef>
              <a:spcAft>
                <a:spcPts val="0"/>
              </a:spcAft>
              <a:buSzPts val="1620"/>
              <a:buChar char="▪"/>
              <a:defRPr/>
            </a:lvl4pPr>
            <a:lvl5pPr marL="2286015" lvl="4" indent="-342903" algn="l">
              <a:lnSpc>
                <a:spcPct val="95000"/>
              </a:lnSpc>
              <a:spcBef>
                <a:spcPts val="100"/>
              </a:spcBef>
              <a:spcAft>
                <a:spcPts val="0"/>
              </a:spcAft>
              <a:buSzPts val="1800"/>
              <a:buChar char="−"/>
              <a:defRPr/>
            </a:lvl5pPr>
            <a:lvl6pPr marL="2743218" lvl="5" indent="-342903" algn="l">
              <a:lnSpc>
                <a:spcPct val="90000"/>
              </a:lnSpc>
              <a:spcBef>
                <a:spcPts val="500"/>
              </a:spcBef>
              <a:spcAft>
                <a:spcPts val="0"/>
              </a:spcAft>
              <a:buClr>
                <a:schemeClr val="dk1"/>
              </a:buClr>
              <a:buSzPts val="1800"/>
              <a:buChar char="•"/>
              <a:defRPr/>
            </a:lvl6pPr>
            <a:lvl7pPr marL="3200421" lvl="6" indent="-342903" algn="l">
              <a:lnSpc>
                <a:spcPct val="90000"/>
              </a:lnSpc>
              <a:spcBef>
                <a:spcPts val="500"/>
              </a:spcBef>
              <a:spcAft>
                <a:spcPts val="0"/>
              </a:spcAft>
              <a:buClr>
                <a:schemeClr val="dk1"/>
              </a:buClr>
              <a:buSzPts val="1800"/>
              <a:buChar char="•"/>
              <a:defRPr/>
            </a:lvl7pPr>
            <a:lvl8pPr marL="3657624" lvl="7" indent="-342903" algn="l">
              <a:lnSpc>
                <a:spcPct val="90000"/>
              </a:lnSpc>
              <a:spcBef>
                <a:spcPts val="500"/>
              </a:spcBef>
              <a:spcAft>
                <a:spcPts val="0"/>
              </a:spcAft>
              <a:buClr>
                <a:schemeClr val="dk1"/>
              </a:buClr>
              <a:buSzPts val="1800"/>
              <a:buChar char="•"/>
              <a:defRPr/>
            </a:lvl8pPr>
            <a:lvl9pPr marL="4114827" lvl="8" indent="-342903" algn="l">
              <a:lnSpc>
                <a:spcPct val="90000"/>
              </a:lnSpc>
              <a:spcBef>
                <a:spcPts val="500"/>
              </a:spcBef>
              <a:spcAft>
                <a:spcPts val="0"/>
              </a:spcAft>
              <a:buClr>
                <a:schemeClr val="dk1"/>
              </a:buClr>
              <a:buSzPts val="1800"/>
              <a:buChar char="•"/>
              <a:defRPr/>
            </a:lvl9pPr>
          </a:lstStyle>
          <a:p>
            <a:endParaRPr/>
          </a:p>
        </p:txBody>
      </p:sp>
      <p:sp>
        <p:nvSpPr>
          <p:cNvPr id="195" name="Google Shape;195;p62"/>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90605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3 Blue on Left_2">
  <p:cSld name="1/3 Blue on Left_2">
    <p:spTree>
      <p:nvGrpSpPr>
        <p:cNvPr id="1" name="Shape 196"/>
        <p:cNvGrpSpPr/>
        <p:nvPr/>
      </p:nvGrpSpPr>
      <p:grpSpPr>
        <a:xfrm>
          <a:off x="0" y="0"/>
          <a:ext cx="0" cy="0"/>
          <a:chOff x="0" y="0"/>
          <a:chExt cx="0" cy="0"/>
        </a:xfrm>
      </p:grpSpPr>
      <p:sp>
        <p:nvSpPr>
          <p:cNvPr id="197" name="Google Shape;197;p63"/>
          <p:cNvSpPr/>
          <p:nvPr/>
        </p:nvSpPr>
        <p:spPr>
          <a:xfrm>
            <a:off x="1" y="-1"/>
            <a:ext cx="4059776" cy="6857999"/>
          </a:xfrm>
          <a:prstGeom prst="rect">
            <a:avLst/>
          </a:prstGeom>
          <a:gradFill>
            <a:gsLst>
              <a:gs pos="0">
                <a:srgbClr val="062379"/>
              </a:gs>
              <a:gs pos="55000">
                <a:srgbClr val="385ED2"/>
              </a:gs>
              <a:gs pos="76000">
                <a:srgbClr val="4873F5">
                  <a:alpha val="89411"/>
                </a:srgbClr>
              </a:gs>
              <a:gs pos="100000">
                <a:srgbClr val="43E1D3"/>
              </a:gs>
            </a:gsLst>
            <a:lin ang="3000000" scaled="0"/>
          </a:gradFill>
          <a:ln>
            <a:noFill/>
          </a:ln>
        </p:spPr>
        <p:txBody>
          <a:bodyPr spcFirstLastPara="1" wrap="square" lIns="91422" tIns="45699" rIns="91422" bIns="45699"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 name="Google Shape;198;p63"/>
          <p:cNvSpPr txBox="1">
            <a:spLocks noGrp="1"/>
          </p:cNvSpPr>
          <p:nvPr>
            <p:ph type="title"/>
          </p:nvPr>
        </p:nvSpPr>
        <p:spPr>
          <a:xfrm>
            <a:off x="566142" y="3117388"/>
            <a:ext cx="3032465" cy="623219"/>
          </a:xfrm>
          <a:prstGeom prst="rect">
            <a:avLst/>
          </a:prstGeom>
          <a:noFill/>
          <a:ln>
            <a:noFill/>
          </a:ln>
        </p:spPr>
        <p:txBody>
          <a:bodyPr spcFirstLastPara="1" wrap="square" lIns="0" tIns="0" rIns="0" bIns="0" anchor="ctr" anchorCtr="0">
            <a:spAutoFit/>
          </a:bodyPr>
          <a:lstStyle>
            <a:lvl1pPr lvl="0" algn="l">
              <a:lnSpc>
                <a:spcPct val="90000"/>
              </a:lnSpc>
              <a:spcBef>
                <a:spcPts val="0"/>
              </a:spcBef>
              <a:spcAft>
                <a:spcPts val="0"/>
              </a:spcAft>
              <a:buClr>
                <a:schemeClr val="lt1"/>
              </a:buClr>
              <a:buSzPts val="4500"/>
              <a:buFont typeface="Franklin Gothic"/>
              <a:buNone/>
              <a:defRPr sz="45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63"/>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00" name="Google Shape;200;p63"/>
          <p:cNvSpPr txBox="1">
            <a:spLocks noGrp="1"/>
          </p:cNvSpPr>
          <p:nvPr>
            <p:ph type="ftr" idx="11"/>
          </p:nvPr>
        </p:nvSpPr>
        <p:spPr>
          <a:xfrm>
            <a:off x="4360863" y="6450257"/>
            <a:ext cx="5545138" cy="153856"/>
          </a:xfrm>
          <a:prstGeom prst="rect">
            <a:avLst/>
          </a:prstGeom>
          <a:noFill/>
          <a:ln>
            <a:noFill/>
          </a:ln>
        </p:spPr>
        <p:txBody>
          <a:bodyPr spcFirstLastPara="1" wrap="square" lIns="0" tIns="0" rIns="0" bIns="0" anchor="b" anchorCtr="0">
            <a:spAutoFit/>
          </a:bodyPr>
          <a:lstStyle>
            <a:lvl1pPr lvl="0" algn="l">
              <a:lnSpc>
                <a:spcPct val="100000"/>
              </a:lnSpc>
              <a:spcBef>
                <a:spcPts val="0"/>
              </a:spcBef>
              <a:spcAft>
                <a:spcPts val="0"/>
              </a:spcAft>
              <a:buSzPts val="1400"/>
              <a:buNone/>
              <a:defRPr sz="1000" b="0" i="0" u="none" strike="noStrike" cap="none">
                <a:solidFill>
                  <a:schemeClr val="dk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05123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ABC757-ED20-4346-903C-7ACB6BDFF219}"/>
              </a:ext>
            </a:extLst>
          </p:cNvPr>
          <p:cNvGraphicFramePr>
            <a:graphicFrameLocks noChangeAspect="1"/>
          </p:cNvGraphicFramePr>
          <p:nvPr userDrawn="1">
            <p:custDataLst>
              <p:tags r:id="rId28"/>
            </p:custDataLst>
            <p:extLst>
              <p:ext uri="{D42A27DB-BD31-4B8C-83A1-F6EECF244321}">
                <p14:modId xmlns:p14="http://schemas.microsoft.com/office/powerpoint/2010/main" val="40095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73" imgH="476" progId="TCLayout.ActiveDocument.1">
                  <p:embed/>
                </p:oleObj>
              </mc:Choice>
              <mc:Fallback>
                <p:oleObj name="think-cell Slide" r:id="rId29" imgW="473" imgH="476" progId="TCLayout.ActiveDocument.1">
                  <p:embed/>
                  <p:pic>
                    <p:nvPicPr>
                      <p:cNvPr id="2" name="Object 1" hidden="1">
                        <a:extLst>
                          <a:ext uri="{FF2B5EF4-FFF2-40B4-BE49-F238E27FC236}">
                            <a16:creationId xmlns:a16="http://schemas.microsoft.com/office/drawing/2014/main" id="{11ABC757-ED20-4346-903C-7ACB6BDFF219}"/>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grpSp>
        <p:nvGrpSpPr>
          <p:cNvPr id="10" name="Google Shape;10;p45"/>
          <p:cNvGrpSpPr/>
          <p:nvPr/>
        </p:nvGrpSpPr>
        <p:grpSpPr>
          <a:xfrm>
            <a:off x="11998459" y="6162189"/>
            <a:ext cx="68500" cy="441925"/>
            <a:chOff x="11998459" y="6162188"/>
            <a:chExt cx="68500" cy="441925"/>
          </a:xfrm>
        </p:grpSpPr>
        <p:sp>
          <p:nvSpPr>
            <p:cNvPr id="11" name="Google Shape;11;p45"/>
            <p:cNvSpPr/>
            <p:nvPr/>
          </p:nvSpPr>
          <p:spPr>
            <a:xfrm rot="-5400000">
              <a:off x="12063068" y="6476346"/>
              <a:ext cx="17" cy="1717"/>
            </a:xfrm>
            <a:custGeom>
              <a:avLst/>
              <a:gdLst/>
              <a:ahLst/>
              <a:cxnLst/>
              <a:rect l="l" t="t" r="r" b="b"/>
              <a:pathLst>
                <a:path w="17" h="1717" extrusionOk="0">
                  <a:moveTo>
                    <a:pt x="0" y="0"/>
                  </a:moveTo>
                  <a:lnTo>
                    <a:pt x="17" y="0"/>
                  </a:lnTo>
                  <a:lnTo>
                    <a:pt x="17" y="0"/>
                  </a:lnTo>
                  <a:lnTo>
                    <a:pt x="0" y="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2" name="Google Shape;12;p45"/>
            <p:cNvSpPr/>
            <p:nvPr/>
          </p:nvSpPr>
          <p:spPr>
            <a:xfrm rot="-5400000">
              <a:off x="12023737" y="6455896"/>
              <a:ext cx="453" cy="271"/>
            </a:xfrm>
            <a:custGeom>
              <a:avLst/>
              <a:gdLst/>
              <a:ahLst/>
              <a:cxnLst/>
              <a:rect l="l" t="t" r="r" b="b"/>
              <a:pathLst>
                <a:path w="453" h="271" extrusionOk="0">
                  <a:moveTo>
                    <a:pt x="0" y="0"/>
                  </a:moveTo>
                  <a:cubicBezTo>
                    <a:pt x="258" y="172"/>
                    <a:pt x="498" y="344"/>
                    <a:pt x="447" y="24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3" name="Google Shape;13;p45"/>
            <p:cNvSpPr/>
            <p:nvPr/>
          </p:nvSpPr>
          <p:spPr>
            <a:xfrm rot="-5400000">
              <a:off x="12023907" y="6477766"/>
              <a:ext cx="15" cy="76"/>
            </a:xfrm>
            <a:custGeom>
              <a:avLst/>
              <a:gdLst/>
              <a:ahLst/>
              <a:cxnLst/>
              <a:rect l="l" t="t" r="r" b="b"/>
              <a:pathLst>
                <a:path w="15" h="76" extrusionOk="0">
                  <a:moveTo>
                    <a:pt x="15" y="38"/>
                  </a:moveTo>
                  <a:cubicBezTo>
                    <a:pt x="15" y="38"/>
                    <a:pt x="15" y="-48"/>
                    <a:pt x="15" y="38"/>
                  </a:cubicBezTo>
                  <a:cubicBezTo>
                    <a:pt x="15" y="124"/>
                    <a:pt x="-19" y="38"/>
                    <a:pt x="15" y="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4" name="Google Shape;14;p45"/>
            <p:cNvSpPr/>
            <p:nvPr/>
          </p:nvSpPr>
          <p:spPr>
            <a:xfrm rot="-5400000">
              <a:off x="12021636" y="6473651"/>
              <a:ext cx="261" cy="103"/>
            </a:xfrm>
            <a:custGeom>
              <a:avLst/>
              <a:gdLst/>
              <a:ahLst/>
              <a:cxnLst/>
              <a:rect l="l" t="t" r="r" b="b"/>
              <a:pathLst>
                <a:path w="261" h="103" extrusionOk="0">
                  <a:moveTo>
                    <a:pt x="262" y="0"/>
                  </a:moveTo>
                  <a:lnTo>
                    <a:pt x="56" y="103"/>
                  </a:lnTo>
                  <a:cubicBezTo>
                    <a:pt x="176" y="103"/>
                    <a:pt x="-116" y="103"/>
                    <a:pt x="56" y="103"/>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5" name="Google Shape;15;p45"/>
            <p:cNvSpPr/>
            <p:nvPr/>
          </p:nvSpPr>
          <p:spPr>
            <a:xfrm rot="-5400000">
              <a:off x="12015635" y="6442208"/>
              <a:ext cx="51323" cy="51323"/>
            </a:xfrm>
            <a:custGeom>
              <a:avLst/>
              <a:gdLst/>
              <a:ahLst/>
              <a:cxnLst/>
              <a:rect l="l" t="t" r="r" b="b"/>
              <a:pathLst>
                <a:path w="51323" h="51323" extrusionOk="0">
                  <a:moveTo>
                    <a:pt x="25662" y="0"/>
                  </a:moveTo>
                  <a:cubicBezTo>
                    <a:pt x="11489" y="0"/>
                    <a:pt x="0" y="11489"/>
                    <a:pt x="0" y="25662"/>
                  </a:cubicBezTo>
                  <a:cubicBezTo>
                    <a:pt x="0" y="39834"/>
                    <a:pt x="11489" y="51323"/>
                    <a:pt x="25662" y="51323"/>
                  </a:cubicBezTo>
                  <a:cubicBezTo>
                    <a:pt x="39835" y="51323"/>
                    <a:pt x="51324" y="39834"/>
                    <a:pt x="51324" y="25662"/>
                  </a:cubicBezTo>
                  <a:cubicBezTo>
                    <a:pt x="51324" y="25645"/>
                    <a:pt x="51324" y="25627"/>
                    <a:pt x="51324" y="25610"/>
                  </a:cubicBezTo>
                  <a:cubicBezTo>
                    <a:pt x="51314" y="11457"/>
                    <a:pt x="39833" y="-9"/>
                    <a:pt x="25679" y="0"/>
                  </a:cubicBezTo>
                  <a:cubicBezTo>
                    <a:pt x="25673" y="0"/>
                    <a:pt x="25667" y="0"/>
                    <a:pt x="25662" y="0"/>
                  </a:cubicBezTo>
                  <a:close/>
                  <a:moveTo>
                    <a:pt x="26967" y="15648"/>
                  </a:moveTo>
                  <a:cubicBezTo>
                    <a:pt x="26864" y="15648"/>
                    <a:pt x="26967" y="15785"/>
                    <a:pt x="26967" y="15837"/>
                  </a:cubicBezTo>
                  <a:cubicBezTo>
                    <a:pt x="26894" y="15820"/>
                    <a:pt x="26817" y="15820"/>
                    <a:pt x="26744" y="15837"/>
                  </a:cubicBezTo>
                  <a:cubicBezTo>
                    <a:pt x="26899" y="15837"/>
                    <a:pt x="27139" y="16043"/>
                    <a:pt x="26933" y="16163"/>
                  </a:cubicBezTo>
                  <a:cubicBezTo>
                    <a:pt x="26727" y="16283"/>
                    <a:pt x="27019" y="16163"/>
                    <a:pt x="27036" y="16163"/>
                  </a:cubicBezTo>
                  <a:cubicBezTo>
                    <a:pt x="27173" y="15854"/>
                    <a:pt x="27586" y="16283"/>
                    <a:pt x="27294" y="16489"/>
                  </a:cubicBezTo>
                  <a:lnTo>
                    <a:pt x="27294" y="16489"/>
                  </a:lnTo>
                  <a:cubicBezTo>
                    <a:pt x="27294" y="16489"/>
                    <a:pt x="27294" y="16489"/>
                    <a:pt x="27294" y="16489"/>
                  </a:cubicBezTo>
                  <a:lnTo>
                    <a:pt x="27294" y="16489"/>
                  </a:lnTo>
                  <a:cubicBezTo>
                    <a:pt x="27294" y="16489"/>
                    <a:pt x="27191" y="16489"/>
                    <a:pt x="27156" y="16489"/>
                  </a:cubicBezTo>
                  <a:cubicBezTo>
                    <a:pt x="27122" y="16489"/>
                    <a:pt x="27156" y="16489"/>
                    <a:pt x="27156" y="16593"/>
                  </a:cubicBezTo>
                  <a:cubicBezTo>
                    <a:pt x="27156" y="16696"/>
                    <a:pt x="27276" y="16593"/>
                    <a:pt x="27156" y="16593"/>
                  </a:cubicBezTo>
                  <a:cubicBezTo>
                    <a:pt x="27036" y="16593"/>
                    <a:pt x="27294" y="16593"/>
                    <a:pt x="27379" y="16593"/>
                  </a:cubicBezTo>
                  <a:cubicBezTo>
                    <a:pt x="27465" y="16593"/>
                    <a:pt x="27276" y="16713"/>
                    <a:pt x="27276" y="16799"/>
                  </a:cubicBezTo>
                  <a:cubicBezTo>
                    <a:pt x="27276" y="16885"/>
                    <a:pt x="26795" y="16936"/>
                    <a:pt x="26744" y="16799"/>
                  </a:cubicBezTo>
                  <a:cubicBezTo>
                    <a:pt x="26692" y="16661"/>
                    <a:pt x="26297" y="16799"/>
                    <a:pt x="26074" y="16902"/>
                  </a:cubicBezTo>
                  <a:cubicBezTo>
                    <a:pt x="25851" y="17005"/>
                    <a:pt x="26074" y="17125"/>
                    <a:pt x="25868" y="16988"/>
                  </a:cubicBezTo>
                  <a:cubicBezTo>
                    <a:pt x="25662" y="16850"/>
                    <a:pt x="25610" y="16988"/>
                    <a:pt x="25559" y="17142"/>
                  </a:cubicBezTo>
                  <a:cubicBezTo>
                    <a:pt x="25507" y="17297"/>
                    <a:pt x="25559" y="17142"/>
                    <a:pt x="25404" y="17142"/>
                  </a:cubicBezTo>
                  <a:cubicBezTo>
                    <a:pt x="25553" y="17029"/>
                    <a:pt x="25690" y="16902"/>
                    <a:pt x="25816" y="16764"/>
                  </a:cubicBezTo>
                  <a:cubicBezTo>
                    <a:pt x="25816" y="16593"/>
                    <a:pt x="26057" y="16764"/>
                    <a:pt x="26194" y="16764"/>
                  </a:cubicBezTo>
                  <a:cubicBezTo>
                    <a:pt x="26332" y="16764"/>
                    <a:pt x="26297" y="16610"/>
                    <a:pt x="26349" y="16541"/>
                  </a:cubicBezTo>
                  <a:cubicBezTo>
                    <a:pt x="26400" y="16472"/>
                    <a:pt x="26091" y="16764"/>
                    <a:pt x="26005" y="16627"/>
                  </a:cubicBezTo>
                  <a:cubicBezTo>
                    <a:pt x="25919" y="16489"/>
                    <a:pt x="25748" y="16627"/>
                    <a:pt x="25902" y="16627"/>
                  </a:cubicBezTo>
                  <a:cubicBezTo>
                    <a:pt x="26057" y="16627"/>
                    <a:pt x="25765" y="16627"/>
                    <a:pt x="25662" y="16627"/>
                  </a:cubicBezTo>
                  <a:lnTo>
                    <a:pt x="25662" y="16627"/>
                  </a:lnTo>
                  <a:cubicBezTo>
                    <a:pt x="25662" y="16627"/>
                    <a:pt x="25662" y="16627"/>
                    <a:pt x="25662" y="16627"/>
                  </a:cubicBezTo>
                  <a:cubicBezTo>
                    <a:pt x="25919" y="16541"/>
                    <a:pt x="26040" y="16472"/>
                    <a:pt x="26005" y="16215"/>
                  </a:cubicBezTo>
                  <a:lnTo>
                    <a:pt x="25834" y="16215"/>
                  </a:lnTo>
                  <a:cubicBezTo>
                    <a:pt x="25954" y="16094"/>
                    <a:pt x="26126" y="15940"/>
                    <a:pt x="26297" y="16060"/>
                  </a:cubicBezTo>
                  <a:cubicBezTo>
                    <a:pt x="26160" y="15888"/>
                    <a:pt x="26297" y="16060"/>
                    <a:pt x="26297" y="16060"/>
                  </a:cubicBezTo>
                  <a:cubicBezTo>
                    <a:pt x="26297" y="16060"/>
                    <a:pt x="26194" y="15837"/>
                    <a:pt x="26297" y="15785"/>
                  </a:cubicBezTo>
                  <a:cubicBezTo>
                    <a:pt x="26400" y="15734"/>
                    <a:pt x="26297" y="15648"/>
                    <a:pt x="26194" y="15785"/>
                  </a:cubicBezTo>
                  <a:lnTo>
                    <a:pt x="26194" y="15785"/>
                  </a:lnTo>
                  <a:cubicBezTo>
                    <a:pt x="26057" y="15785"/>
                    <a:pt x="26194" y="15476"/>
                    <a:pt x="26194" y="15493"/>
                  </a:cubicBezTo>
                  <a:cubicBezTo>
                    <a:pt x="26023" y="15493"/>
                    <a:pt x="25988" y="15613"/>
                    <a:pt x="25834" y="15493"/>
                  </a:cubicBezTo>
                  <a:cubicBezTo>
                    <a:pt x="25679" y="15373"/>
                    <a:pt x="25834" y="15493"/>
                    <a:pt x="25834" y="15596"/>
                  </a:cubicBezTo>
                  <a:cubicBezTo>
                    <a:pt x="25834" y="15699"/>
                    <a:pt x="25662" y="15459"/>
                    <a:pt x="25713" y="15596"/>
                  </a:cubicBezTo>
                  <a:cubicBezTo>
                    <a:pt x="25765" y="15734"/>
                    <a:pt x="25713" y="15493"/>
                    <a:pt x="25713" y="15459"/>
                  </a:cubicBezTo>
                  <a:lnTo>
                    <a:pt x="25713" y="15459"/>
                  </a:lnTo>
                  <a:cubicBezTo>
                    <a:pt x="25713" y="15459"/>
                    <a:pt x="25713" y="15287"/>
                    <a:pt x="25816" y="15236"/>
                  </a:cubicBezTo>
                  <a:cubicBezTo>
                    <a:pt x="25919" y="15184"/>
                    <a:pt x="25713" y="15029"/>
                    <a:pt x="25816" y="15064"/>
                  </a:cubicBezTo>
                  <a:cubicBezTo>
                    <a:pt x="25919" y="15098"/>
                    <a:pt x="25816" y="15064"/>
                    <a:pt x="25816" y="14961"/>
                  </a:cubicBezTo>
                  <a:cubicBezTo>
                    <a:pt x="25816" y="14858"/>
                    <a:pt x="25816" y="15047"/>
                    <a:pt x="25816" y="15081"/>
                  </a:cubicBezTo>
                  <a:lnTo>
                    <a:pt x="25816" y="15081"/>
                  </a:lnTo>
                  <a:cubicBezTo>
                    <a:pt x="25816" y="15081"/>
                    <a:pt x="25816" y="15081"/>
                    <a:pt x="25816" y="15081"/>
                  </a:cubicBezTo>
                  <a:cubicBezTo>
                    <a:pt x="25816" y="15081"/>
                    <a:pt x="25816" y="15081"/>
                    <a:pt x="25816" y="15081"/>
                  </a:cubicBezTo>
                  <a:cubicBezTo>
                    <a:pt x="25812" y="15173"/>
                    <a:pt x="25812" y="15264"/>
                    <a:pt x="25816" y="15356"/>
                  </a:cubicBezTo>
                  <a:cubicBezTo>
                    <a:pt x="25713" y="15356"/>
                    <a:pt x="25816" y="15218"/>
                    <a:pt x="25816" y="15167"/>
                  </a:cubicBezTo>
                  <a:cubicBezTo>
                    <a:pt x="25816" y="15115"/>
                    <a:pt x="25816" y="14858"/>
                    <a:pt x="25919" y="14823"/>
                  </a:cubicBezTo>
                  <a:cubicBezTo>
                    <a:pt x="26023" y="14789"/>
                    <a:pt x="25919" y="14823"/>
                    <a:pt x="25919" y="14823"/>
                  </a:cubicBezTo>
                  <a:cubicBezTo>
                    <a:pt x="25919" y="14823"/>
                    <a:pt x="25799" y="14978"/>
                    <a:pt x="25731" y="14823"/>
                  </a:cubicBezTo>
                  <a:cubicBezTo>
                    <a:pt x="25662" y="14669"/>
                    <a:pt x="25731" y="14823"/>
                    <a:pt x="25731" y="14823"/>
                  </a:cubicBezTo>
                  <a:cubicBezTo>
                    <a:pt x="25731" y="14823"/>
                    <a:pt x="25731" y="14686"/>
                    <a:pt x="25868" y="14737"/>
                  </a:cubicBezTo>
                  <a:cubicBezTo>
                    <a:pt x="26005" y="14789"/>
                    <a:pt x="25868" y="14737"/>
                    <a:pt x="25868" y="14737"/>
                  </a:cubicBezTo>
                  <a:cubicBezTo>
                    <a:pt x="25868" y="14737"/>
                    <a:pt x="25868" y="14737"/>
                    <a:pt x="25868" y="14737"/>
                  </a:cubicBezTo>
                  <a:cubicBezTo>
                    <a:pt x="25868" y="14737"/>
                    <a:pt x="25868" y="14737"/>
                    <a:pt x="25868" y="14737"/>
                  </a:cubicBezTo>
                  <a:cubicBezTo>
                    <a:pt x="25868" y="14737"/>
                    <a:pt x="25868" y="14737"/>
                    <a:pt x="25868" y="14737"/>
                  </a:cubicBezTo>
                  <a:lnTo>
                    <a:pt x="25868" y="14737"/>
                  </a:lnTo>
                  <a:lnTo>
                    <a:pt x="25868" y="14652"/>
                  </a:lnTo>
                  <a:cubicBezTo>
                    <a:pt x="25868" y="14652"/>
                    <a:pt x="25868" y="14652"/>
                    <a:pt x="25868" y="14652"/>
                  </a:cubicBezTo>
                  <a:cubicBezTo>
                    <a:pt x="25868" y="14652"/>
                    <a:pt x="25868" y="14566"/>
                    <a:pt x="25868" y="14514"/>
                  </a:cubicBezTo>
                  <a:lnTo>
                    <a:pt x="25868" y="14514"/>
                  </a:lnTo>
                  <a:cubicBezTo>
                    <a:pt x="25868" y="14514"/>
                    <a:pt x="25868" y="14514"/>
                    <a:pt x="25868" y="14514"/>
                  </a:cubicBezTo>
                  <a:cubicBezTo>
                    <a:pt x="25868" y="14514"/>
                    <a:pt x="25868" y="14514"/>
                    <a:pt x="25971" y="14514"/>
                  </a:cubicBezTo>
                  <a:cubicBezTo>
                    <a:pt x="25976" y="14486"/>
                    <a:pt x="25976" y="14457"/>
                    <a:pt x="25971" y="14428"/>
                  </a:cubicBezTo>
                  <a:cubicBezTo>
                    <a:pt x="25971" y="14428"/>
                    <a:pt x="26091" y="14085"/>
                    <a:pt x="26126" y="14291"/>
                  </a:cubicBezTo>
                  <a:cubicBezTo>
                    <a:pt x="26160" y="14497"/>
                    <a:pt x="26126" y="14291"/>
                    <a:pt x="26126" y="14291"/>
                  </a:cubicBezTo>
                  <a:cubicBezTo>
                    <a:pt x="26538" y="14136"/>
                    <a:pt x="26435" y="14291"/>
                    <a:pt x="26126" y="14531"/>
                  </a:cubicBezTo>
                  <a:lnTo>
                    <a:pt x="26126" y="14531"/>
                  </a:lnTo>
                  <a:cubicBezTo>
                    <a:pt x="25902" y="14737"/>
                    <a:pt x="26366" y="14531"/>
                    <a:pt x="26486" y="14531"/>
                  </a:cubicBezTo>
                  <a:cubicBezTo>
                    <a:pt x="26607" y="14531"/>
                    <a:pt x="26486" y="15029"/>
                    <a:pt x="26263" y="14995"/>
                  </a:cubicBezTo>
                  <a:cubicBezTo>
                    <a:pt x="26040" y="14961"/>
                    <a:pt x="26263" y="14995"/>
                    <a:pt x="26263" y="14995"/>
                  </a:cubicBezTo>
                  <a:cubicBezTo>
                    <a:pt x="26263" y="14995"/>
                    <a:pt x="26108" y="15133"/>
                    <a:pt x="26005" y="14995"/>
                  </a:cubicBezTo>
                  <a:cubicBezTo>
                    <a:pt x="26064" y="15057"/>
                    <a:pt x="26162" y="15059"/>
                    <a:pt x="26224" y="15000"/>
                  </a:cubicBezTo>
                  <a:cubicBezTo>
                    <a:pt x="26226" y="14998"/>
                    <a:pt x="26227" y="14997"/>
                    <a:pt x="26229" y="14995"/>
                  </a:cubicBezTo>
                  <a:cubicBezTo>
                    <a:pt x="26486" y="15098"/>
                    <a:pt x="26503" y="15373"/>
                    <a:pt x="26589" y="15579"/>
                  </a:cubicBezTo>
                  <a:cubicBezTo>
                    <a:pt x="26675" y="15785"/>
                    <a:pt x="26830" y="15545"/>
                    <a:pt x="26967" y="15613"/>
                  </a:cubicBezTo>
                  <a:close/>
                  <a:moveTo>
                    <a:pt x="18138" y="47476"/>
                  </a:moveTo>
                  <a:lnTo>
                    <a:pt x="18138" y="47476"/>
                  </a:lnTo>
                  <a:lnTo>
                    <a:pt x="18138" y="47476"/>
                  </a:lnTo>
                  <a:lnTo>
                    <a:pt x="18138" y="47476"/>
                  </a:lnTo>
                  <a:lnTo>
                    <a:pt x="18224" y="47476"/>
                  </a:lnTo>
                  <a:lnTo>
                    <a:pt x="18224" y="47476"/>
                  </a:lnTo>
                  <a:lnTo>
                    <a:pt x="17984" y="47338"/>
                  </a:lnTo>
                  <a:lnTo>
                    <a:pt x="17984" y="47338"/>
                  </a:lnTo>
                  <a:lnTo>
                    <a:pt x="17984" y="47338"/>
                  </a:lnTo>
                  <a:lnTo>
                    <a:pt x="18070" y="47338"/>
                  </a:lnTo>
                  <a:lnTo>
                    <a:pt x="18070" y="47338"/>
                  </a:lnTo>
                  <a:lnTo>
                    <a:pt x="18070" y="47338"/>
                  </a:lnTo>
                  <a:lnTo>
                    <a:pt x="17795" y="47218"/>
                  </a:lnTo>
                  <a:lnTo>
                    <a:pt x="17795" y="47218"/>
                  </a:lnTo>
                  <a:cubicBezTo>
                    <a:pt x="17795" y="47218"/>
                    <a:pt x="17795" y="47218"/>
                    <a:pt x="17795" y="47218"/>
                  </a:cubicBezTo>
                  <a:cubicBezTo>
                    <a:pt x="17762" y="47203"/>
                    <a:pt x="17725" y="47203"/>
                    <a:pt x="17692" y="47218"/>
                  </a:cubicBezTo>
                  <a:lnTo>
                    <a:pt x="17692" y="47218"/>
                  </a:lnTo>
                  <a:lnTo>
                    <a:pt x="17692" y="47218"/>
                  </a:lnTo>
                  <a:lnTo>
                    <a:pt x="17692" y="47218"/>
                  </a:lnTo>
                  <a:lnTo>
                    <a:pt x="17864" y="47218"/>
                  </a:lnTo>
                  <a:lnTo>
                    <a:pt x="17658" y="47218"/>
                  </a:lnTo>
                  <a:lnTo>
                    <a:pt x="17658" y="47218"/>
                  </a:lnTo>
                  <a:lnTo>
                    <a:pt x="17417" y="47115"/>
                  </a:lnTo>
                  <a:lnTo>
                    <a:pt x="17417" y="47115"/>
                  </a:lnTo>
                  <a:lnTo>
                    <a:pt x="17417" y="47115"/>
                  </a:lnTo>
                  <a:lnTo>
                    <a:pt x="17280" y="47115"/>
                  </a:lnTo>
                  <a:lnTo>
                    <a:pt x="17469" y="47218"/>
                  </a:lnTo>
                  <a:lnTo>
                    <a:pt x="17194" y="47081"/>
                  </a:lnTo>
                  <a:lnTo>
                    <a:pt x="17194" y="47081"/>
                  </a:lnTo>
                  <a:lnTo>
                    <a:pt x="17366" y="47081"/>
                  </a:lnTo>
                  <a:lnTo>
                    <a:pt x="17228" y="47081"/>
                  </a:lnTo>
                  <a:lnTo>
                    <a:pt x="17366" y="47081"/>
                  </a:lnTo>
                  <a:lnTo>
                    <a:pt x="17108" y="46961"/>
                  </a:lnTo>
                  <a:lnTo>
                    <a:pt x="17108" y="46961"/>
                  </a:lnTo>
                  <a:lnTo>
                    <a:pt x="17005" y="46961"/>
                  </a:lnTo>
                  <a:lnTo>
                    <a:pt x="17005" y="46961"/>
                  </a:lnTo>
                  <a:lnTo>
                    <a:pt x="16782" y="46858"/>
                  </a:lnTo>
                  <a:lnTo>
                    <a:pt x="16782" y="46858"/>
                  </a:lnTo>
                  <a:lnTo>
                    <a:pt x="16696" y="46858"/>
                  </a:lnTo>
                  <a:lnTo>
                    <a:pt x="16696" y="46858"/>
                  </a:lnTo>
                  <a:cubicBezTo>
                    <a:pt x="16557" y="46803"/>
                    <a:pt x="16425" y="46733"/>
                    <a:pt x="16301" y="46651"/>
                  </a:cubicBezTo>
                  <a:lnTo>
                    <a:pt x="16301" y="46651"/>
                  </a:lnTo>
                  <a:lnTo>
                    <a:pt x="16129" y="46548"/>
                  </a:lnTo>
                  <a:lnTo>
                    <a:pt x="16283" y="46651"/>
                  </a:lnTo>
                  <a:lnTo>
                    <a:pt x="15940" y="46462"/>
                  </a:lnTo>
                  <a:lnTo>
                    <a:pt x="15940" y="46462"/>
                  </a:lnTo>
                  <a:lnTo>
                    <a:pt x="15837" y="46462"/>
                  </a:lnTo>
                  <a:lnTo>
                    <a:pt x="15837" y="46462"/>
                  </a:lnTo>
                  <a:lnTo>
                    <a:pt x="15665" y="46359"/>
                  </a:lnTo>
                  <a:lnTo>
                    <a:pt x="15665" y="46359"/>
                  </a:lnTo>
                  <a:lnTo>
                    <a:pt x="15665" y="46359"/>
                  </a:lnTo>
                  <a:lnTo>
                    <a:pt x="15665" y="46359"/>
                  </a:lnTo>
                  <a:lnTo>
                    <a:pt x="15510" y="46274"/>
                  </a:lnTo>
                  <a:lnTo>
                    <a:pt x="15510" y="46274"/>
                  </a:lnTo>
                  <a:lnTo>
                    <a:pt x="15339" y="46153"/>
                  </a:lnTo>
                  <a:lnTo>
                    <a:pt x="15339" y="46153"/>
                  </a:lnTo>
                  <a:lnTo>
                    <a:pt x="15201" y="46153"/>
                  </a:lnTo>
                  <a:lnTo>
                    <a:pt x="15201" y="46153"/>
                  </a:lnTo>
                  <a:cubicBezTo>
                    <a:pt x="15162" y="46164"/>
                    <a:pt x="15120" y="46164"/>
                    <a:pt x="15081" y="46153"/>
                  </a:cubicBezTo>
                  <a:lnTo>
                    <a:pt x="15081" y="46153"/>
                  </a:lnTo>
                  <a:lnTo>
                    <a:pt x="15218" y="46239"/>
                  </a:lnTo>
                  <a:lnTo>
                    <a:pt x="15081" y="46153"/>
                  </a:lnTo>
                  <a:lnTo>
                    <a:pt x="15081" y="46153"/>
                  </a:lnTo>
                  <a:lnTo>
                    <a:pt x="14961" y="46153"/>
                  </a:lnTo>
                  <a:lnTo>
                    <a:pt x="14961" y="46153"/>
                  </a:lnTo>
                  <a:lnTo>
                    <a:pt x="14823" y="46067"/>
                  </a:lnTo>
                  <a:cubicBezTo>
                    <a:pt x="14890" y="46095"/>
                    <a:pt x="14953" y="46130"/>
                    <a:pt x="15012" y="46170"/>
                  </a:cubicBezTo>
                  <a:cubicBezTo>
                    <a:pt x="15012" y="46170"/>
                    <a:pt x="15150" y="46274"/>
                    <a:pt x="15184" y="46274"/>
                  </a:cubicBezTo>
                  <a:lnTo>
                    <a:pt x="14720" y="45947"/>
                  </a:lnTo>
                  <a:lnTo>
                    <a:pt x="14720" y="45947"/>
                  </a:lnTo>
                  <a:cubicBezTo>
                    <a:pt x="14446" y="45724"/>
                    <a:pt x="14136" y="45535"/>
                    <a:pt x="13879" y="45312"/>
                  </a:cubicBezTo>
                  <a:lnTo>
                    <a:pt x="13982" y="45312"/>
                  </a:lnTo>
                  <a:lnTo>
                    <a:pt x="13827" y="45191"/>
                  </a:lnTo>
                  <a:lnTo>
                    <a:pt x="13827" y="45191"/>
                  </a:lnTo>
                  <a:cubicBezTo>
                    <a:pt x="13827" y="45191"/>
                    <a:pt x="13827" y="45191"/>
                    <a:pt x="13724" y="45191"/>
                  </a:cubicBezTo>
                  <a:lnTo>
                    <a:pt x="13724" y="45191"/>
                  </a:lnTo>
                  <a:lnTo>
                    <a:pt x="13724" y="45191"/>
                  </a:lnTo>
                  <a:lnTo>
                    <a:pt x="13724" y="45191"/>
                  </a:lnTo>
                  <a:cubicBezTo>
                    <a:pt x="13500" y="45056"/>
                    <a:pt x="13292" y="44895"/>
                    <a:pt x="13106" y="44710"/>
                  </a:cubicBezTo>
                  <a:lnTo>
                    <a:pt x="13106" y="44710"/>
                  </a:lnTo>
                  <a:cubicBezTo>
                    <a:pt x="12865" y="44453"/>
                    <a:pt x="12573" y="44264"/>
                    <a:pt x="12316" y="44023"/>
                  </a:cubicBezTo>
                  <a:cubicBezTo>
                    <a:pt x="12316" y="44023"/>
                    <a:pt x="12316" y="44023"/>
                    <a:pt x="12316" y="44023"/>
                  </a:cubicBezTo>
                  <a:cubicBezTo>
                    <a:pt x="11271" y="42931"/>
                    <a:pt x="10350" y="41727"/>
                    <a:pt x="9567" y="40434"/>
                  </a:cubicBezTo>
                  <a:lnTo>
                    <a:pt x="9567" y="40434"/>
                  </a:lnTo>
                  <a:cubicBezTo>
                    <a:pt x="9215" y="39466"/>
                    <a:pt x="8691" y="38570"/>
                    <a:pt x="8021" y="37788"/>
                  </a:cubicBezTo>
                  <a:lnTo>
                    <a:pt x="8021" y="37788"/>
                  </a:lnTo>
                  <a:cubicBezTo>
                    <a:pt x="6949" y="36560"/>
                    <a:pt x="6200" y="35084"/>
                    <a:pt x="5840" y="33494"/>
                  </a:cubicBezTo>
                  <a:cubicBezTo>
                    <a:pt x="5840" y="33494"/>
                    <a:pt x="5840" y="33494"/>
                    <a:pt x="5840" y="33580"/>
                  </a:cubicBezTo>
                  <a:cubicBezTo>
                    <a:pt x="5850" y="33546"/>
                    <a:pt x="5850" y="33511"/>
                    <a:pt x="5840" y="33477"/>
                  </a:cubicBezTo>
                  <a:cubicBezTo>
                    <a:pt x="5840" y="33477"/>
                    <a:pt x="5840" y="33580"/>
                    <a:pt x="5840" y="33614"/>
                  </a:cubicBezTo>
                  <a:cubicBezTo>
                    <a:pt x="5600" y="33202"/>
                    <a:pt x="5685" y="28461"/>
                    <a:pt x="5222" y="30299"/>
                  </a:cubicBezTo>
                  <a:cubicBezTo>
                    <a:pt x="5222" y="30299"/>
                    <a:pt x="5222" y="30093"/>
                    <a:pt x="5222" y="30042"/>
                  </a:cubicBezTo>
                  <a:cubicBezTo>
                    <a:pt x="5222" y="29990"/>
                    <a:pt x="5222" y="30042"/>
                    <a:pt x="5222" y="30128"/>
                  </a:cubicBezTo>
                  <a:cubicBezTo>
                    <a:pt x="5222" y="30213"/>
                    <a:pt x="5222" y="29887"/>
                    <a:pt x="5067" y="29784"/>
                  </a:cubicBezTo>
                  <a:cubicBezTo>
                    <a:pt x="4913" y="29681"/>
                    <a:pt x="5067" y="29784"/>
                    <a:pt x="5067" y="29784"/>
                  </a:cubicBezTo>
                  <a:lnTo>
                    <a:pt x="5067" y="29784"/>
                  </a:lnTo>
                  <a:cubicBezTo>
                    <a:pt x="5067" y="29784"/>
                    <a:pt x="5067" y="29612"/>
                    <a:pt x="5067" y="29544"/>
                  </a:cubicBezTo>
                  <a:cubicBezTo>
                    <a:pt x="5067" y="29475"/>
                    <a:pt x="5067" y="29664"/>
                    <a:pt x="5067" y="29715"/>
                  </a:cubicBezTo>
                  <a:cubicBezTo>
                    <a:pt x="5067" y="29458"/>
                    <a:pt x="4947" y="29166"/>
                    <a:pt x="4844" y="28908"/>
                  </a:cubicBezTo>
                  <a:cubicBezTo>
                    <a:pt x="4844" y="28994"/>
                    <a:pt x="4844" y="29080"/>
                    <a:pt x="4844" y="29183"/>
                  </a:cubicBezTo>
                  <a:cubicBezTo>
                    <a:pt x="4689" y="28753"/>
                    <a:pt x="4672" y="28290"/>
                    <a:pt x="4552" y="27843"/>
                  </a:cubicBezTo>
                  <a:cubicBezTo>
                    <a:pt x="4552" y="27929"/>
                    <a:pt x="4552" y="27843"/>
                    <a:pt x="4552" y="27740"/>
                  </a:cubicBezTo>
                  <a:cubicBezTo>
                    <a:pt x="4552" y="27637"/>
                    <a:pt x="4552" y="27740"/>
                    <a:pt x="4552" y="27740"/>
                  </a:cubicBezTo>
                  <a:cubicBezTo>
                    <a:pt x="4552" y="27740"/>
                    <a:pt x="4552" y="27740"/>
                    <a:pt x="4552" y="27740"/>
                  </a:cubicBezTo>
                  <a:cubicBezTo>
                    <a:pt x="4552" y="27740"/>
                    <a:pt x="4552" y="27740"/>
                    <a:pt x="4552" y="27740"/>
                  </a:cubicBezTo>
                  <a:cubicBezTo>
                    <a:pt x="4343" y="27287"/>
                    <a:pt x="4226" y="26796"/>
                    <a:pt x="4208" y="26297"/>
                  </a:cubicBezTo>
                  <a:cubicBezTo>
                    <a:pt x="4218" y="26366"/>
                    <a:pt x="4218" y="26435"/>
                    <a:pt x="4208" y="26503"/>
                  </a:cubicBezTo>
                  <a:cubicBezTo>
                    <a:pt x="4218" y="26435"/>
                    <a:pt x="4218" y="26366"/>
                    <a:pt x="4208" y="26297"/>
                  </a:cubicBezTo>
                  <a:lnTo>
                    <a:pt x="4208" y="26297"/>
                  </a:lnTo>
                  <a:cubicBezTo>
                    <a:pt x="4208" y="26297"/>
                    <a:pt x="4208" y="26297"/>
                    <a:pt x="4208" y="26297"/>
                  </a:cubicBezTo>
                  <a:lnTo>
                    <a:pt x="4208" y="26297"/>
                  </a:lnTo>
                  <a:lnTo>
                    <a:pt x="4208" y="26297"/>
                  </a:lnTo>
                  <a:cubicBezTo>
                    <a:pt x="4208" y="26297"/>
                    <a:pt x="4208" y="26297"/>
                    <a:pt x="4208" y="26400"/>
                  </a:cubicBezTo>
                  <a:cubicBezTo>
                    <a:pt x="4208" y="26503"/>
                    <a:pt x="4208" y="26400"/>
                    <a:pt x="4208" y="26400"/>
                  </a:cubicBezTo>
                  <a:lnTo>
                    <a:pt x="4208" y="26400"/>
                  </a:lnTo>
                  <a:lnTo>
                    <a:pt x="4208" y="26400"/>
                  </a:lnTo>
                  <a:cubicBezTo>
                    <a:pt x="4208" y="26314"/>
                    <a:pt x="4208" y="26194"/>
                    <a:pt x="4208" y="26091"/>
                  </a:cubicBezTo>
                  <a:lnTo>
                    <a:pt x="4208" y="26091"/>
                  </a:lnTo>
                  <a:cubicBezTo>
                    <a:pt x="4200" y="26034"/>
                    <a:pt x="4200" y="25976"/>
                    <a:pt x="4208" y="25919"/>
                  </a:cubicBezTo>
                  <a:lnTo>
                    <a:pt x="4208" y="25919"/>
                  </a:lnTo>
                  <a:cubicBezTo>
                    <a:pt x="4191" y="25679"/>
                    <a:pt x="4191" y="25438"/>
                    <a:pt x="4208" y="25198"/>
                  </a:cubicBezTo>
                  <a:lnTo>
                    <a:pt x="4208" y="25198"/>
                  </a:lnTo>
                  <a:cubicBezTo>
                    <a:pt x="4208" y="25198"/>
                    <a:pt x="4208" y="25112"/>
                    <a:pt x="4208" y="25078"/>
                  </a:cubicBezTo>
                  <a:lnTo>
                    <a:pt x="4208" y="25078"/>
                  </a:lnTo>
                  <a:cubicBezTo>
                    <a:pt x="4764" y="15747"/>
                    <a:pt x="10928" y="7687"/>
                    <a:pt x="19787" y="4706"/>
                  </a:cubicBezTo>
                  <a:lnTo>
                    <a:pt x="19787" y="4706"/>
                  </a:lnTo>
                  <a:lnTo>
                    <a:pt x="19994" y="4706"/>
                  </a:lnTo>
                  <a:lnTo>
                    <a:pt x="19994" y="4706"/>
                  </a:lnTo>
                  <a:lnTo>
                    <a:pt x="20217" y="4706"/>
                  </a:lnTo>
                  <a:lnTo>
                    <a:pt x="20062" y="4706"/>
                  </a:lnTo>
                  <a:lnTo>
                    <a:pt x="20337" y="4706"/>
                  </a:lnTo>
                  <a:lnTo>
                    <a:pt x="20234" y="4706"/>
                  </a:lnTo>
                  <a:lnTo>
                    <a:pt x="20234" y="4706"/>
                  </a:lnTo>
                  <a:lnTo>
                    <a:pt x="20423" y="4706"/>
                  </a:lnTo>
                  <a:lnTo>
                    <a:pt x="20423" y="4706"/>
                  </a:lnTo>
                  <a:lnTo>
                    <a:pt x="21711" y="4414"/>
                  </a:lnTo>
                  <a:lnTo>
                    <a:pt x="21711" y="4414"/>
                  </a:lnTo>
                  <a:lnTo>
                    <a:pt x="22038" y="4414"/>
                  </a:lnTo>
                  <a:lnTo>
                    <a:pt x="21814" y="4414"/>
                  </a:lnTo>
                  <a:lnTo>
                    <a:pt x="21814" y="4414"/>
                  </a:lnTo>
                  <a:lnTo>
                    <a:pt x="22415" y="4414"/>
                  </a:lnTo>
                  <a:lnTo>
                    <a:pt x="22415" y="4414"/>
                  </a:lnTo>
                  <a:lnTo>
                    <a:pt x="22106" y="4414"/>
                  </a:lnTo>
                  <a:lnTo>
                    <a:pt x="22398" y="4414"/>
                  </a:lnTo>
                  <a:lnTo>
                    <a:pt x="22398" y="4414"/>
                  </a:lnTo>
                  <a:lnTo>
                    <a:pt x="22690" y="4414"/>
                  </a:lnTo>
                  <a:lnTo>
                    <a:pt x="22587" y="4414"/>
                  </a:lnTo>
                  <a:lnTo>
                    <a:pt x="22484" y="4414"/>
                  </a:lnTo>
                  <a:lnTo>
                    <a:pt x="22725" y="4414"/>
                  </a:lnTo>
                  <a:lnTo>
                    <a:pt x="22347" y="4414"/>
                  </a:lnTo>
                  <a:lnTo>
                    <a:pt x="22244" y="4414"/>
                  </a:lnTo>
                  <a:lnTo>
                    <a:pt x="22055" y="4414"/>
                  </a:lnTo>
                  <a:lnTo>
                    <a:pt x="22415" y="4414"/>
                  </a:lnTo>
                  <a:lnTo>
                    <a:pt x="22020" y="4414"/>
                  </a:lnTo>
                  <a:lnTo>
                    <a:pt x="22020" y="4414"/>
                  </a:lnTo>
                  <a:lnTo>
                    <a:pt x="21608" y="4414"/>
                  </a:lnTo>
                  <a:lnTo>
                    <a:pt x="21608" y="4414"/>
                  </a:lnTo>
                  <a:lnTo>
                    <a:pt x="21213" y="4500"/>
                  </a:lnTo>
                  <a:lnTo>
                    <a:pt x="21385" y="4500"/>
                  </a:lnTo>
                  <a:lnTo>
                    <a:pt x="21385" y="4500"/>
                  </a:lnTo>
                  <a:cubicBezTo>
                    <a:pt x="21251" y="4544"/>
                    <a:pt x="21113" y="4572"/>
                    <a:pt x="20973" y="4586"/>
                  </a:cubicBezTo>
                  <a:lnTo>
                    <a:pt x="21144" y="4586"/>
                  </a:lnTo>
                  <a:lnTo>
                    <a:pt x="20955" y="4586"/>
                  </a:lnTo>
                  <a:lnTo>
                    <a:pt x="20955" y="4586"/>
                  </a:lnTo>
                  <a:lnTo>
                    <a:pt x="20835" y="4586"/>
                  </a:lnTo>
                  <a:lnTo>
                    <a:pt x="20835" y="4586"/>
                  </a:lnTo>
                  <a:lnTo>
                    <a:pt x="20835" y="4586"/>
                  </a:lnTo>
                  <a:cubicBezTo>
                    <a:pt x="20835" y="4586"/>
                    <a:pt x="20835" y="4586"/>
                    <a:pt x="20835" y="4586"/>
                  </a:cubicBezTo>
                  <a:lnTo>
                    <a:pt x="20835" y="4586"/>
                  </a:lnTo>
                  <a:lnTo>
                    <a:pt x="20663" y="4586"/>
                  </a:lnTo>
                  <a:lnTo>
                    <a:pt x="20663" y="4586"/>
                  </a:lnTo>
                  <a:lnTo>
                    <a:pt x="20663" y="4586"/>
                  </a:lnTo>
                  <a:lnTo>
                    <a:pt x="20663" y="4586"/>
                  </a:lnTo>
                  <a:lnTo>
                    <a:pt x="20560" y="4586"/>
                  </a:lnTo>
                  <a:lnTo>
                    <a:pt x="20560" y="4586"/>
                  </a:lnTo>
                  <a:lnTo>
                    <a:pt x="20114" y="4706"/>
                  </a:lnTo>
                  <a:lnTo>
                    <a:pt x="20114" y="4706"/>
                  </a:lnTo>
                  <a:lnTo>
                    <a:pt x="19787" y="4827"/>
                  </a:lnTo>
                  <a:lnTo>
                    <a:pt x="19787" y="4827"/>
                  </a:lnTo>
                  <a:lnTo>
                    <a:pt x="19392" y="4947"/>
                  </a:lnTo>
                  <a:lnTo>
                    <a:pt x="19392" y="4947"/>
                  </a:lnTo>
                  <a:lnTo>
                    <a:pt x="19100" y="5153"/>
                  </a:lnTo>
                  <a:lnTo>
                    <a:pt x="19100" y="5153"/>
                  </a:lnTo>
                  <a:lnTo>
                    <a:pt x="18997" y="5153"/>
                  </a:lnTo>
                  <a:lnTo>
                    <a:pt x="18997" y="5153"/>
                  </a:lnTo>
                  <a:lnTo>
                    <a:pt x="18430" y="5359"/>
                  </a:lnTo>
                  <a:lnTo>
                    <a:pt x="18568" y="5359"/>
                  </a:lnTo>
                  <a:lnTo>
                    <a:pt x="18568" y="5359"/>
                  </a:lnTo>
                  <a:cubicBezTo>
                    <a:pt x="18763" y="5286"/>
                    <a:pt x="18964" y="5229"/>
                    <a:pt x="19169" y="5187"/>
                  </a:cubicBezTo>
                  <a:lnTo>
                    <a:pt x="19169" y="5187"/>
                  </a:lnTo>
                  <a:lnTo>
                    <a:pt x="19341" y="5187"/>
                  </a:lnTo>
                  <a:lnTo>
                    <a:pt x="19461" y="5187"/>
                  </a:lnTo>
                  <a:lnTo>
                    <a:pt x="19186" y="5187"/>
                  </a:lnTo>
                  <a:lnTo>
                    <a:pt x="19186" y="5187"/>
                  </a:lnTo>
                  <a:lnTo>
                    <a:pt x="19032" y="5187"/>
                  </a:lnTo>
                  <a:lnTo>
                    <a:pt x="19032" y="5187"/>
                  </a:lnTo>
                  <a:lnTo>
                    <a:pt x="18911" y="5187"/>
                  </a:lnTo>
                  <a:lnTo>
                    <a:pt x="18911" y="5187"/>
                  </a:lnTo>
                  <a:lnTo>
                    <a:pt x="18740" y="5187"/>
                  </a:lnTo>
                  <a:lnTo>
                    <a:pt x="18740" y="5187"/>
                  </a:lnTo>
                  <a:lnTo>
                    <a:pt x="18894" y="5187"/>
                  </a:lnTo>
                  <a:lnTo>
                    <a:pt x="18894" y="5187"/>
                  </a:lnTo>
                  <a:lnTo>
                    <a:pt x="19049" y="5187"/>
                  </a:lnTo>
                  <a:lnTo>
                    <a:pt x="19049" y="5187"/>
                  </a:lnTo>
                  <a:lnTo>
                    <a:pt x="18860" y="5187"/>
                  </a:lnTo>
                  <a:cubicBezTo>
                    <a:pt x="18997" y="5187"/>
                    <a:pt x="19392" y="5067"/>
                    <a:pt x="19032" y="5187"/>
                  </a:cubicBezTo>
                  <a:lnTo>
                    <a:pt x="19186" y="5187"/>
                  </a:lnTo>
                  <a:lnTo>
                    <a:pt x="19289" y="5187"/>
                  </a:lnTo>
                  <a:lnTo>
                    <a:pt x="19650" y="5084"/>
                  </a:lnTo>
                  <a:cubicBezTo>
                    <a:pt x="19252" y="5196"/>
                    <a:pt x="18862" y="5334"/>
                    <a:pt x="18482" y="5497"/>
                  </a:cubicBezTo>
                  <a:lnTo>
                    <a:pt x="18654" y="5497"/>
                  </a:lnTo>
                  <a:lnTo>
                    <a:pt x="18654" y="5497"/>
                  </a:lnTo>
                  <a:cubicBezTo>
                    <a:pt x="18654" y="5497"/>
                    <a:pt x="18860" y="5497"/>
                    <a:pt x="18740" y="5497"/>
                  </a:cubicBezTo>
                  <a:lnTo>
                    <a:pt x="18894" y="5497"/>
                  </a:lnTo>
                  <a:lnTo>
                    <a:pt x="18894" y="5497"/>
                  </a:lnTo>
                  <a:lnTo>
                    <a:pt x="19032" y="5497"/>
                  </a:lnTo>
                  <a:cubicBezTo>
                    <a:pt x="18929" y="5497"/>
                    <a:pt x="18808" y="5497"/>
                    <a:pt x="18722" y="5617"/>
                  </a:cubicBezTo>
                  <a:lnTo>
                    <a:pt x="18722" y="5617"/>
                  </a:lnTo>
                  <a:lnTo>
                    <a:pt x="18585" y="5617"/>
                  </a:lnTo>
                  <a:lnTo>
                    <a:pt x="18585" y="5617"/>
                  </a:lnTo>
                  <a:lnTo>
                    <a:pt x="18413" y="5617"/>
                  </a:lnTo>
                  <a:cubicBezTo>
                    <a:pt x="18505" y="5624"/>
                    <a:pt x="18597" y="5624"/>
                    <a:pt x="18688" y="5617"/>
                  </a:cubicBezTo>
                  <a:cubicBezTo>
                    <a:pt x="18396" y="5771"/>
                    <a:pt x="18035" y="5909"/>
                    <a:pt x="17743" y="6098"/>
                  </a:cubicBezTo>
                  <a:lnTo>
                    <a:pt x="17743" y="6098"/>
                  </a:lnTo>
                  <a:lnTo>
                    <a:pt x="17554" y="6201"/>
                  </a:lnTo>
                  <a:lnTo>
                    <a:pt x="17743" y="6201"/>
                  </a:lnTo>
                  <a:lnTo>
                    <a:pt x="17743" y="6201"/>
                  </a:lnTo>
                  <a:cubicBezTo>
                    <a:pt x="17743" y="6201"/>
                    <a:pt x="17743" y="6201"/>
                    <a:pt x="17743" y="6201"/>
                  </a:cubicBezTo>
                  <a:cubicBezTo>
                    <a:pt x="17557" y="6309"/>
                    <a:pt x="17362" y="6402"/>
                    <a:pt x="17159" y="6476"/>
                  </a:cubicBezTo>
                  <a:cubicBezTo>
                    <a:pt x="17159" y="6476"/>
                    <a:pt x="17159" y="6476"/>
                    <a:pt x="17159" y="6476"/>
                  </a:cubicBezTo>
                  <a:cubicBezTo>
                    <a:pt x="17159" y="6476"/>
                    <a:pt x="17056" y="6476"/>
                    <a:pt x="17039" y="6476"/>
                  </a:cubicBezTo>
                  <a:lnTo>
                    <a:pt x="17039" y="6476"/>
                  </a:lnTo>
                  <a:cubicBezTo>
                    <a:pt x="16976" y="6499"/>
                    <a:pt x="16918" y="6534"/>
                    <a:pt x="16867" y="6579"/>
                  </a:cubicBezTo>
                  <a:lnTo>
                    <a:pt x="16867" y="6579"/>
                  </a:lnTo>
                  <a:cubicBezTo>
                    <a:pt x="16867" y="6579"/>
                    <a:pt x="16627" y="6750"/>
                    <a:pt x="16730" y="6716"/>
                  </a:cubicBezTo>
                  <a:lnTo>
                    <a:pt x="16730" y="6716"/>
                  </a:lnTo>
                  <a:lnTo>
                    <a:pt x="16730" y="6716"/>
                  </a:lnTo>
                  <a:lnTo>
                    <a:pt x="16730" y="6716"/>
                  </a:lnTo>
                  <a:cubicBezTo>
                    <a:pt x="16730" y="6716"/>
                    <a:pt x="16730" y="6716"/>
                    <a:pt x="16730" y="6716"/>
                  </a:cubicBezTo>
                  <a:lnTo>
                    <a:pt x="16885" y="6716"/>
                  </a:lnTo>
                  <a:lnTo>
                    <a:pt x="16627" y="6853"/>
                  </a:lnTo>
                  <a:lnTo>
                    <a:pt x="16627" y="6853"/>
                  </a:lnTo>
                  <a:cubicBezTo>
                    <a:pt x="16627" y="6853"/>
                    <a:pt x="16455" y="6853"/>
                    <a:pt x="16386" y="6991"/>
                  </a:cubicBezTo>
                  <a:cubicBezTo>
                    <a:pt x="16318" y="7128"/>
                    <a:pt x="16507" y="6991"/>
                    <a:pt x="16558" y="6991"/>
                  </a:cubicBezTo>
                  <a:cubicBezTo>
                    <a:pt x="16389" y="7066"/>
                    <a:pt x="16228" y="7158"/>
                    <a:pt x="16077" y="7266"/>
                  </a:cubicBezTo>
                  <a:lnTo>
                    <a:pt x="16077" y="7266"/>
                  </a:lnTo>
                  <a:lnTo>
                    <a:pt x="16077" y="7266"/>
                  </a:lnTo>
                  <a:cubicBezTo>
                    <a:pt x="16317" y="7116"/>
                    <a:pt x="16570" y="6989"/>
                    <a:pt x="16833" y="6888"/>
                  </a:cubicBezTo>
                  <a:lnTo>
                    <a:pt x="16833" y="6888"/>
                  </a:lnTo>
                  <a:cubicBezTo>
                    <a:pt x="16833" y="6888"/>
                    <a:pt x="16833" y="6888"/>
                    <a:pt x="16833" y="6888"/>
                  </a:cubicBezTo>
                  <a:lnTo>
                    <a:pt x="16833" y="6888"/>
                  </a:lnTo>
                  <a:lnTo>
                    <a:pt x="16936" y="6888"/>
                  </a:lnTo>
                  <a:lnTo>
                    <a:pt x="16833" y="6888"/>
                  </a:lnTo>
                  <a:cubicBezTo>
                    <a:pt x="16833" y="6888"/>
                    <a:pt x="16988" y="6785"/>
                    <a:pt x="17056" y="6785"/>
                  </a:cubicBezTo>
                  <a:lnTo>
                    <a:pt x="17056" y="6785"/>
                  </a:lnTo>
                  <a:cubicBezTo>
                    <a:pt x="17056" y="6785"/>
                    <a:pt x="17314" y="6682"/>
                    <a:pt x="17159" y="6785"/>
                  </a:cubicBezTo>
                  <a:lnTo>
                    <a:pt x="17039" y="6785"/>
                  </a:lnTo>
                  <a:cubicBezTo>
                    <a:pt x="17073" y="6775"/>
                    <a:pt x="17109" y="6775"/>
                    <a:pt x="17142" y="6785"/>
                  </a:cubicBezTo>
                  <a:lnTo>
                    <a:pt x="17022" y="6785"/>
                  </a:lnTo>
                  <a:lnTo>
                    <a:pt x="17022" y="6785"/>
                  </a:lnTo>
                  <a:cubicBezTo>
                    <a:pt x="17022" y="6785"/>
                    <a:pt x="17022" y="6785"/>
                    <a:pt x="16885" y="6785"/>
                  </a:cubicBezTo>
                  <a:cubicBezTo>
                    <a:pt x="16747" y="6785"/>
                    <a:pt x="17074" y="6785"/>
                    <a:pt x="17005" y="6785"/>
                  </a:cubicBezTo>
                  <a:cubicBezTo>
                    <a:pt x="17104" y="6745"/>
                    <a:pt x="17215" y="6745"/>
                    <a:pt x="17314" y="6785"/>
                  </a:cubicBezTo>
                  <a:lnTo>
                    <a:pt x="17314" y="6785"/>
                  </a:lnTo>
                  <a:cubicBezTo>
                    <a:pt x="17125" y="6922"/>
                    <a:pt x="16902" y="7025"/>
                    <a:pt x="16696" y="7145"/>
                  </a:cubicBezTo>
                  <a:lnTo>
                    <a:pt x="16696" y="7145"/>
                  </a:lnTo>
                  <a:lnTo>
                    <a:pt x="16696" y="7145"/>
                  </a:lnTo>
                  <a:lnTo>
                    <a:pt x="16696" y="7145"/>
                  </a:lnTo>
                  <a:cubicBezTo>
                    <a:pt x="16696" y="7145"/>
                    <a:pt x="16696" y="7145"/>
                    <a:pt x="16696" y="7145"/>
                  </a:cubicBezTo>
                  <a:lnTo>
                    <a:pt x="16696" y="7145"/>
                  </a:lnTo>
                  <a:lnTo>
                    <a:pt x="16696" y="7145"/>
                  </a:lnTo>
                  <a:lnTo>
                    <a:pt x="16455" y="7300"/>
                  </a:lnTo>
                  <a:lnTo>
                    <a:pt x="16455" y="7300"/>
                  </a:lnTo>
                  <a:cubicBezTo>
                    <a:pt x="16455" y="7300"/>
                    <a:pt x="16455" y="7300"/>
                    <a:pt x="16455" y="7386"/>
                  </a:cubicBezTo>
                  <a:lnTo>
                    <a:pt x="16610" y="7386"/>
                  </a:lnTo>
                  <a:lnTo>
                    <a:pt x="16610" y="7386"/>
                  </a:lnTo>
                  <a:lnTo>
                    <a:pt x="16610" y="7489"/>
                  </a:lnTo>
                  <a:cubicBezTo>
                    <a:pt x="16610" y="7489"/>
                    <a:pt x="16610" y="7489"/>
                    <a:pt x="16610" y="7489"/>
                  </a:cubicBezTo>
                  <a:lnTo>
                    <a:pt x="16610" y="7489"/>
                  </a:lnTo>
                  <a:cubicBezTo>
                    <a:pt x="16953" y="7266"/>
                    <a:pt x="16713" y="7489"/>
                    <a:pt x="16610" y="7592"/>
                  </a:cubicBezTo>
                  <a:cubicBezTo>
                    <a:pt x="16730" y="7592"/>
                    <a:pt x="16833" y="7386"/>
                    <a:pt x="16970" y="7334"/>
                  </a:cubicBezTo>
                  <a:lnTo>
                    <a:pt x="16970" y="7334"/>
                  </a:lnTo>
                  <a:cubicBezTo>
                    <a:pt x="16970" y="7334"/>
                    <a:pt x="17280" y="7145"/>
                    <a:pt x="17108" y="7334"/>
                  </a:cubicBezTo>
                  <a:lnTo>
                    <a:pt x="17245" y="7334"/>
                  </a:lnTo>
                  <a:lnTo>
                    <a:pt x="17142" y="7334"/>
                  </a:lnTo>
                  <a:cubicBezTo>
                    <a:pt x="17142" y="7334"/>
                    <a:pt x="17142" y="7334"/>
                    <a:pt x="17142" y="7334"/>
                  </a:cubicBezTo>
                  <a:cubicBezTo>
                    <a:pt x="17142" y="7334"/>
                    <a:pt x="17022" y="7334"/>
                    <a:pt x="16988" y="7437"/>
                  </a:cubicBezTo>
                  <a:lnTo>
                    <a:pt x="16988" y="7437"/>
                  </a:lnTo>
                  <a:cubicBezTo>
                    <a:pt x="16988" y="7437"/>
                    <a:pt x="16885" y="7437"/>
                    <a:pt x="16867" y="7437"/>
                  </a:cubicBezTo>
                  <a:cubicBezTo>
                    <a:pt x="17211" y="7317"/>
                    <a:pt x="16747" y="7437"/>
                    <a:pt x="16610" y="7575"/>
                  </a:cubicBezTo>
                  <a:lnTo>
                    <a:pt x="16610" y="7575"/>
                  </a:lnTo>
                  <a:lnTo>
                    <a:pt x="16421" y="7678"/>
                  </a:lnTo>
                  <a:lnTo>
                    <a:pt x="16421" y="7678"/>
                  </a:lnTo>
                  <a:lnTo>
                    <a:pt x="16283" y="7678"/>
                  </a:lnTo>
                  <a:cubicBezTo>
                    <a:pt x="16438" y="7678"/>
                    <a:pt x="16283" y="7678"/>
                    <a:pt x="16283" y="7678"/>
                  </a:cubicBezTo>
                  <a:lnTo>
                    <a:pt x="16283" y="7678"/>
                  </a:lnTo>
                  <a:lnTo>
                    <a:pt x="16129" y="7678"/>
                  </a:lnTo>
                  <a:lnTo>
                    <a:pt x="16129" y="7678"/>
                  </a:lnTo>
                  <a:lnTo>
                    <a:pt x="16129" y="7678"/>
                  </a:lnTo>
                  <a:lnTo>
                    <a:pt x="16129" y="7678"/>
                  </a:lnTo>
                  <a:cubicBezTo>
                    <a:pt x="16026" y="7678"/>
                    <a:pt x="15923" y="7833"/>
                    <a:pt x="15820" y="7867"/>
                  </a:cubicBezTo>
                  <a:cubicBezTo>
                    <a:pt x="15717" y="7901"/>
                    <a:pt x="15974" y="7764"/>
                    <a:pt x="16043" y="7747"/>
                  </a:cubicBezTo>
                  <a:cubicBezTo>
                    <a:pt x="16112" y="7729"/>
                    <a:pt x="16043" y="7747"/>
                    <a:pt x="16043" y="7747"/>
                  </a:cubicBezTo>
                  <a:cubicBezTo>
                    <a:pt x="16131" y="7705"/>
                    <a:pt x="16223" y="7670"/>
                    <a:pt x="16318" y="7644"/>
                  </a:cubicBezTo>
                  <a:lnTo>
                    <a:pt x="16198" y="7644"/>
                  </a:lnTo>
                  <a:cubicBezTo>
                    <a:pt x="16386" y="7558"/>
                    <a:pt x="16558" y="7420"/>
                    <a:pt x="16747" y="7352"/>
                  </a:cubicBezTo>
                  <a:lnTo>
                    <a:pt x="16747" y="7352"/>
                  </a:lnTo>
                  <a:lnTo>
                    <a:pt x="16747" y="7352"/>
                  </a:lnTo>
                  <a:cubicBezTo>
                    <a:pt x="16976" y="7288"/>
                    <a:pt x="17195" y="7196"/>
                    <a:pt x="17400" y="7077"/>
                  </a:cubicBezTo>
                  <a:cubicBezTo>
                    <a:pt x="17400" y="7077"/>
                    <a:pt x="17400" y="7077"/>
                    <a:pt x="17262" y="7077"/>
                  </a:cubicBezTo>
                  <a:lnTo>
                    <a:pt x="17262" y="7077"/>
                  </a:lnTo>
                  <a:cubicBezTo>
                    <a:pt x="17366" y="7077"/>
                    <a:pt x="17761" y="6836"/>
                    <a:pt x="17520" y="6991"/>
                  </a:cubicBezTo>
                  <a:cubicBezTo>
                    <a:pt x="17692" y="6991"/>
                    <a:pt x="17692" y="6819"/>
                    <a:pt x="17846" y="6768"/>
                  </a:cubicBezTo>
                  <a:cubicBezTo>
                    <a:pt x="17692" y="6768"/>
                    <a:pt x="17846" y="6768"/>
                    <a:pt x="17846" y="6768"/>
                  </a:cubicBezTo>
                  <a:lnTo>
                    <a:pt x="17846" y="6768"/>
                  </a:lnTo>
                  <a:cubicBezTo>
                    <a:pt x="18036" y="6628"/>
                    <a:pt x="18252" y="6528"/>
                    <a:pt x="18482" y="6476"/>
                  </a:cubicBezTo>
                  <a:lnTo>
                    <a:pt x="18482" y="6476"/>
                  </a:lnTo>
                  <a:cubicBezTo>
                    <a:pt x="18662" y="6364"/>
                    <a:pt x="18859" y="6282"/>
                    <a:pt x="19066" y="6235"/>
                  </a:cubicBezTo>
                  <a:lnTo>
                    <a:pt x="18911" y="6321"/>
                  </a:lnTo>
                  <a:cubicBezTo>
                    <a:pt x="19100" y="6321"/>
                    <a:pt x="19238" y="6149"/>
                    <a:pt x="19427" y="6115"/>
                  </a:cubicBezTo>
                  <a:lnTo>
                    <a:pt x="19238" y="6252"/>
                  </a:lnTo>
                  <a:cubicBezTo>
                    <a:pt x="20286" y="5617"/>
                    <a:pt x="22038" y="4998"/>
                    <a:pt x="20303" y="5909"/>
                  </a:cubicBezTo>
                  <a:cubicBezTo>
                    <a:pt x="20578" y="5823"/>
                    <a:pt x="21230" y="5411"/>
                    <a:pt x="21024" y="5651"/>
                  </a:cubicBezTo>
                  <a:cubicBezTo>
                    <a:pt x="21780" y="5393"/>
                    <a:pt x="20629" y="6012"/>
                    <a:pt x="20303" y="6149"/>
                  </a:cubicBezTo>
                  <a:cubicBezTo>
                    <a:pt x="20698" y="6012"/>
                    <a:pt x="20303" y="6149"/>
                    <a:pt x="20303" y="6149"/>
                  </a:cubicBezTo>
                  <a:cubicBezTo>
                    <a:pt x="20303" y="6149"/>
                    <a:pt x="20560" y="5977"/>
                    <a:pt x="20406" y="6149"/>
                  </a:cubicBezTo>
                  <a:cubicBezTo>
                    <a:pt x="20663" y="5857"/>
                    <a:pt x="20921" y="6149"/>
                    <a:pt x="20492" y="6235"/>
                  </a:cubicBezTo>
                  <a:cubicBezTo>
                    <a:pt x="20448" y="6218"/>
                    <a:pt x="20398" y="6218"/>
                    <a:pt x="20354" y="6235"/>
                  </a:cubicBezTo>
                  <a:cubicBezTo>
                    <a:pt x="20612" y="6235"/>
                    <a:pt x="20251" y="6321"/>
                    <a:pt x="20165" y="6355"/>
                  </a:cubicBezTo>
                  <a:cubicBezTo>
                    <a:pt x="20818" y="6149"/>
                    <a:pt x="19616" y="6647"/>
                    <a:pt x="20337" y="6355"/>
                  </a:cubicBezTo>
                  <a:cubicBezTo>
                    <a:pt x="19427" y="6750"/>
                    <a:pt x="20749" y="6355"/>
                    <a:pt x="19856" y="6716"/>
                  </a:cubicBezTo>
                  <a:cubicBezTo>
                    <a:pt x="19856" y="6819"/>
                    <a:pt x="19856" y="6716"/>
                    <a:pt x="20097" y="6716"/>
                  </a:cubicBezTo>
                  <a:cubicBezTo>
                    <a:pt x="19967" y="6814"/>
                    <a:pt x="19822" y="6889"/>
                    <a:pt x="19667" y="6939"/>
                  </a:cubicBezTo>
                  <a:cubicBezTo>
                    <a:pt x="19564" y="6939"/>
                    <a:pt x="20423" y="6939"/>
                    <a:pt x="19495" y="7145"/>
                  </a:cubicBezTo>
                  <a:cubicBezTo>
                    <a:pt x="19392" y="7145"/>
                    <a:pt x="19959" y="7145"/>
                    <a:pt x="19358" y="7266"/>
                  </a:cubicBezTo>
                  <a:cubicBezTo>
                    <a:pt x="19856" y="7094"/>
                    <a:pt x="19925" y="7266"/>
                    <a:pt x="19358" y="7352"/>
                  </a:cubicBezTo>
                  <a:cubicBezTo>
                    <a:pt x="19581" y="7541"/>
                    <a:pt x="19255" y="7592"/>
                    <a:pt x="19358" y="7523"/>
                  </a:cubicBezTo>
                  <a:cubicBezTo>
                    <a:pt x="19083" y="7523"/>
                    <a:pt x="19358" y="7747"/>
                    <a:pt x="19049" y="7626"/>
                  </a:cubicBezTo>
                  <a:cubicBezTo>
                    <a:pt x="18860" y="7953"/>
                    <a:pt x="19186" y="7764"/>
                    <a:pt x="18860" y="7918"/>
                  </a:cubicBezTo>
                  <a:cubicBezTo>
                    <a:pt x="19118" y="7833"/>
                    <a:pt x="18654" y="8193"/>
                    <a:pt x="18860" y="8039"/>
                  </a:cubicBezTo>
                  <a:cubicBezTo>
                    <a:pt x="18534" y="8365"/>
                    <a:pt x="19152" y="7850"/>
                    <a:pt x="18705" y="8399"/>
                  </a:cubicBezTo>
                  <a:cubicBezTo>
                    <a:pt x="18482" y="8520"/>
                    <a:pt x="19066" y="8399"/>
                    <a:pt x="18551" y="8588"/>
                  </a:cubicBezTo>
                  <a:cubicBezTo>
                    <a:pt x="18929" y="8434"/>
                    <a:pt x="18637" y="8966"/>
                    <a:pt x="18396" y="8829"/>
                  </a:cubicBezTo>
                  <a:cubicBezTo>
                    <a:pt x="18396" y="8966"/>
                    <a:pt x="18242" y="9069"/>
                    <a:pt x="18190" y="8966"/>
                  </a:cubicBezTo>
                  <a:cubicBezTo>
                    <a:pt x="18138" y="8863"/>
                    <a:pt x="18018" y="9155"/>
                    <a:pt x="18190" y="8966"/>
                  </a:cubicBezTo>
                  <a:cubicBezTo>
                    <a:pt x="18362" y="8777"/>
                    <a:pt x="17692" y="9447"/>
                    <a:pt x="17846" y="9155"/>
                  </a:cubicBezTo>
                  <a:cubicBezTo>
                    <a:pt x="17709" y="8966"/>
                    <a:pt x="18173" y="8709"/>
                    <a:pt x="18224" y="8605"/>
                  </a:cubicBezTo>
                  <a:cubicBezTo>
                    <a:pt x="17915" y="8777"/>
                    <a:pt x="18104" y="8605"/>
                    <a:pt x="18224" y="8434"/>
                  </a:cubicBezTo>
                  <a:cubicBezTo>
                    <a:pt x="18345" y="8262"/>
                    <a:pt x="17967" y="8640"/>
                    <a:pt x="18053" y="8434"/>
                  </a:cubicBezTo>
                  <a:cubicBezTo>
                    <a:pt x="17761" y="8709"/>
                    <a:pt x="17589" y="8743"/>
                    <a:pt x="17486" y="9155"/>
                  </a:cubicBezTo>
                  <a:cubicBezTo>
                    <a:pt x="17383" y="9567"/>
                    <a:pt x="16816" y="10065"/>
                    <a:pt x="16747" y="9842"/>
                  </a:cubicBezTo>
                  <a:cubicBezTo>
                    <a:pt x="16678" y="9619"/>
                    <a:pt x="16867" y="9722"/>
                    <a:pt x="16747" y="9396"/>
                  </a:cubicBezTo>
                  <a:cubicBezTo>
                    <a:pt x="16524" y="9791"/>
                    <a:pt x="16524" y="10306"/>
                    <a:pt x="16524" y="10306"/>
                  </a:cubicBezTo>
                  <a:cubicBezTo>
                    <a:pt x="15820" y="10461"/>
                    <a:pt x="16644" y="9104"/>
                    <a:pt x="16799" y="9069"/>
                  </a:cubicBezTo>
                  <a:cubicBezTo>
                    <a:pt x="16524" y="9172"/>
                    <a:pt x="16799" y="9069"/>
                    <a:pt x="16558" y="9069"/>
                  </a:cubicBezTo>
                  <a:cubicBezTo>
                    <a:pt x="16678" y="8897"/>
                    <a:pt x="16386" y="9155"/>
                    <a:pt x="16301" y="9069"/>
                  </a:cubicBezTo>
                  <a:cubicBezTo>
                    <a:pt x="16215" y="8983"/>
                    <a:pt x="17005" y="8382"/>
                    <a:pt x="16850" y="8794"/>
                  </a:cubicBezTo>
                  <a:cubicBezTo>
                    <a:pt x="18310" y="8485"/>
                    <a:pt x="19203" y="7077"/>
                    <a:pt x="19530" y="6733"/>
                  </a:cubicBezTo>
                  <a:cubicBezTo>
                    <a:pt x="19032" y="7145"/>
                    <a:pt x="19169" y="6733"/>
                    <a:pt x="18980" y="6733"/>
                  </a:cubicBezTo>
                  <a:cubicBezTo>
                    <a:pt x="18791" y="6733"/>
                    <a:pt x="19238" y="6579"/>
                    <a:pt x="18980" y="6561"/>
                  </a:cubicBezTo>
                  <a:cubicBezTo>
                    <a:pt x="19203" y="6321"/>
                    <a:pt x="18980" y="6561"/>
                    <a:pt x="18980" y="6373"/>
                  </a:cubicBezTo>
                  <a:lnTo>
                    <a:pt x="19083" y="6373"/>
                  </a:lnTo>
                  <a:lnTo>
                    <a:pt x="18929" y="6458"/>
                  </a:lnTo>
                  <a:cubicBezTo>
                    <a:pt x="18671" y="6579"/>
                    <a:pt x="18430" y="6733"/>
                    <a:pt x="18173" y="6871"/>
                  </a:cubicBezTo>
                  <a:lnTo>
                    <a:pt x="18173" y="6871"/>
                  </a:lnTo>
                  <a:lnTo>
                    <a:pt x="18293" y="6871"/>
                  </a:lnTo>
                  <a:lnTo>
                    <a:pt x="18242" y="6871"/>
                  </a:lnTo>
                  <a:lnTo>
                    <a:pt x="18242" y="6871"/>
                  </a:lnTo>
                  <a:cubicBezTo>
                    <a:pt x="18242" y="6957"/>
                    <a:pt x="17984" y="6871"/>
                    <a:pt x="17898" y="7025"/>
                  </a:cubicBezTo>
                  <a:lnTo>
                    <a:pt x="17898" y="7025"/>
                  </a:lnTo>
                  <a:lnTo>
                    <a:pt x="17898" y="7025"/>
                  </a:lnTo>
                  <a:lnTo>
                    <a:pt x="18001" y="7025"/>
                  </a:lnTo>
                  <a:cubicBezTo>
                    <a:pt x="18001" y="7025"/>
                    <a:pt x="18001" y="7025"/>
                    <a:pt x="18001" y="7025"/>
                  </a:cubicBezTo>
                  <a:lnTo>
                    <a:pt x="18001" y="7025"/>
                  </a:lnTo>
                  <a:cubicBezTo>
                    <a:pt x="18001" y="7025"/>
                    <a:pt x="17881" y="7025"/>
                    <a:pt x="17829" y="7025"/>
                  </a:cubicBezTo>
                  <a:lnTo>
                    <a:pt x="17829" y="7025"/>
                  </a:lnTo>
                  <a:lnTo>
                    <a:pt x="17829" y="7025"/>
                  </a:lnTo>
                  <a:cubicBezTo>
                    <a:pt x="17623" y="7180"/>
                    <a:pt x="17400" y="7300"/>
                    <a:pt x="17177" y="7437"/>
                  </a:cubicBezTo>
                  <a:lnTo>
                    <a:pt x="17434" y="7334"/>
                  </a:lnTo>
                  <a:lnTo>
                    <a:pt x="17434" y="7334"/>
                  </a:lnTo>
                  <a:lnTo>
                    <a:pt x="17864" y="7111"/>
                  </a:lnTo>
                  <a:cubicBezTo>
                    <a:pt x="17702" y="7258"/>
                    <a:pt x="17523" y="7385"/>
                    <a:pt x="17331" y="7489"/>
                  </a:cubicBezTo>
                  <a:lnTo>
                    <a:pt x="17331" y="7489"/>
                  </a:lnTo>
                  <a:cubicBezTo>
                    <a:pt x="17075" y="7607"/>
                    <a:pt x="16843" y="7770"/>
                    <a:pt x="16644" y="7970"/>
                  </a:cubicBezTo>
                  <a:cubicBezTo>
                    <a:pt x="16644" y="7970"/>
                    <a:pt x="16747" y="7884"/>
                    <a:pt x="16799" y="7884"/>
                  </a:cubicBezTo>
                  <a:lnTo>
                    <a:pt x="16799" y="7884"/>
                  </a:lnTo>
                  <a:lnTo>
                    <a:pt x="17675" y="7437"/>
                  </a:lnTo>
                  <a:lnTo>
                    <a:pt x="17675" y="7437"/>
                  </a:lnTo>
                  <a:lnTo>
                    <a:pt x="17675" y="7437"/>
                  </a:lnTo>
                  <a:cubicBezTo>
                    <a:pt x="17675" y="7437"/>
                    <a:pt x="17675" y="7334"/>
                    <a:pt x="17812" y="7352"/>
                  </a:cubicBezTo>
                  <a:lnTo>
                    <a:pt x="17812" y="7352"/>
                  </a:lnTo>
                  <a:cubicBezTo>
                    <a:pt x="17812" y="7352"/>
                    <a:pt x="17812" y="7352"/>
                    <a:pt x="17932" y="7352"/>
                  </a:cubicBezTo>
                  <a:lnTo>
                    <a:pt x="17932" y="7352"/>
                  </a:lnTo>
                  <a:lnTo>
                    <a:pt x="18362" y="7111"/>
                  </a:lnTo>
                  <a:cubicBezTo>
                    <a:pt x="18362" y="7111"/>
                    <a:pt x="18362" y="7111"/>
                    <a:pt x="18362" y="7266"/>
                  </a:cubicBezTo>
                  <a:lnTo>
                    <a:pt x="18362" y="7266"/>
                  </a:lnTo>
                  <a:cubicBezTo>
                    <a:pt x="18341" y="7321"/>
                    <a:pt x="18297" y="7365"/>
                    <a:pt x="18242" y="7386"/>
                  </a:cubicBezTo>
                  <a:cubicBezTo>
                    <a:pt x="18242" y="7300"/>
                    <a:pt x="18242" y="7472"/>
                    <a:pt x="18104" y="7489"/>
                  </a:cubicBezTo>
                  <a:cubicBezTo>
                    <a:pt x="17967" y="7506"/>
                    <a:pt x="17967" y="7626"/>
                    <a:pt x="17898" y="7626"/>
                  </a:cubicBezTo>
                  <a:cubicBezTo>
                    <a:pt x="17829" y="7626"/>
                    <a:pt x="17898" y="7626"/>
                    <a:pt x="17898" y="7626"/>
                  </a:cubicBezTo>
                  <a:lnTo>
                    <a:pt x="17898" y="7626"/>
                  </a:lnTo>
                  <a:cubicBezTo>
                    <a:pt x="17898" y="7626"/>
                    <a:pt x="17606" y="7764"/>
                    <a:pt x="17692" y="7626"/>
                  </a:cubicBezTo>
                  <a:lnTo>
                    <a:pt x="17692" y="7626"/>
                  </a:lnTo>
                  <a:cubicBezTo>
                    <a:pt x="17692" y="7626"/>
                    <a:pt x="17692" y="7712"/>
                    <a:pt x="17537" y="7729"/>
                  </a:cubicBezTo>
                  <a:lnTo>
                    <a:pt x="17537" y="7729"/>
                  </a:lnTo>
                  <a:cubicBezTo>
                    <a:pt x="17537" y="7729"/>
                    <a:pt x="17417" y="7729"/>
                    <a:pt x="17537" y="7729"/>
                  </a:cubicBezTo>
                  <a:cubicBezTo>
                    <a:pt x="17222" y="8004"/>
                    <a:pt x="16845" y="8199"/>
                    <a:pt x="16438" y="8296"/>
                  </a:cubicBezTo>
                  <a:cubicBezTo>
                    <a:pt x="16466" y="8278"/>
                    <a:pt x="16495" y="8261"/>
                    <a:pt x="16524" y="8245"/>
                  </a:cubicBezTo>
                  <a:lnTo>
                    <a:pt x="16524" y="8245"/>
                  </a:lnTo>
                  <a:lnTo>
                    <a:pt x="16661" y="8125"/>
                  </a:lnTo>
                  <a:lnTo>
                    <a:pt x="16661" y="8125"/>
                  </a:lnTo>
                  <a:cubicBezTo>
                    <a:pt x="16661" y="8125"/>
                    <a:pt x="16490" y="8210"/>
                    <a:pt x="16661" y="8125"/>
                  </a:cubicBezTo>
                  <a:cubicBezTo>
                    <a:pt x="16557" y="8250"/>
                    <a:pt x="16436" y="8360"/>
                    <a:pt x="16301" y="8451"/>
                  </a:cubicBezTo>
                  <a:lnTo>
                    <a:pt x="16404" y="8296"/>
                  </a:lnTo>
                  <a:cubicBezTo>
                    <a:pt x="16404" y="8296"/>
                    <a:pt x="16404" y="8382"/>
                    <a:pt x="16283" y="8399"/>
                  </a:cubicBezTo>
                  <a:cubicBezTo>
                    <a:pt x="16163" y="8417"/>
                    <a:pt x="16283" y="8399"/>
                    <a:pt x="16283" y="8399"/>
                  </a:cubicBezTo>
                  <a:lnTo>
                    <a:pt x="16283" y="8399"/>
                  </a:lnTo>
                  <a:lnTo>
                    <a:pt x="16438" y="8279"/>
                  </a:lnTo>
                  <a:cubicBezTo>
                    <a:pt x="16438" y="8279"/>
                    <a:pt x="16335" y="8279"/>
                    <a:pt x="16438" y="8279"/>
                  </a:cubicBezTo>
                  <a:lnTo>
                    <a:pt x="16438" y="8279"/>
                  </a:lnTo>
                  <a:lnTo>
                    <a:pt x="16438" y="8279"/>
                  </a:lnTo>
                  <a:cubicBezTo>
                    <a:pt x="16260" y="8438"/>
                    <a:pt x="16057" y="8566"/>
                    <a:pt x="15837" y="8657"/>
                  </a:cubicBezTo>
                  <a:lnTo>
                    <a:pt x="15837" y="8657"/>
                  </a:lnTo>
                  <a:cubicBezTo>
                    <a:pt x="15510" y="8846"/>
                    <a:pt x="15837" y="8520"/>
                    <a:pt x="15837" y="8365"/>
                  </a:cubicBezTo>
                  <a:cubicBezTo>
                    <a:pt x="15545" y="8537"/>
                    <a:pt x="15614" y="8846"/>
                    <a:pt x="15287" y="8932"/>
                  </a:cubicBezTo>
                  <a:lnTo>
                    <a:pt x="15287" y="8932"/>
                  </a:lnTo>
                  <a:lnTo>
                    <a:pt x="14841" y="9138"/>
                  </a:lnTo>
                  <a:cubicBezTo>
                    <a:pt x="14841" y="9138"/>
                    <a:pt x="14841" y="9138"/>
                    <a:pt x="14841" y="9138"/>
                  </a:cubicBezTo>
                  <a:lnTo>
                    <a:pt x="14841" y="9138"/>
                  </a:lnTo>
                  <a:lnTo>
                    <a:pt x="14841" y="9138"/>
                  </a:lnTo>
                  <a:cubicBezTo>
                    <a:pt x="14841" y="9138"/>
                    <a:pt x="14841" y="9138"/>
                    <a:pt x="14961" y="9035"/>
                  </a:cubicBezTo>
                  <a:cubicBezTo>
                    <a:pt x="15081" y="8932"/>
                    <a:pt x="14841" y="9035"/>
                    <a:pt x="14806" y="9121"/>
                  </a:cubicBezTo>
                  <a:cubicBezTo>
                    <a:pt x="14849" y="9096"/>
                    <a:pt x="14884" y="9060"/>
                    <a:pt x="14909" y="9018"/>
                  </a:cubicBezTo>
                  <a:cubicBezTo>
                    <a:pt x="14909" y="9018"/>
                    <a:pt x="14514" y="9344"/>
                    <a:pt x="14686" y="9138"/>
                  </a:cubicBezTo>
                  <a:lnTo>
                    <a:pt x="14531" y="9258"/>
                  </a:lnTo>
                  <a:cubicBezTo>
                    <a:pt x="14601" y="9111"/>
                    <a:pt x="14687" y="8973"/>
                    <a:pt x="14789" y="8846"/>
                  </a:cubicBezTo>
                  <a:lnTo>
                    <a:pt x="14789" y="8846"/>
                  </a:lnTo>
                  <a:lnTo>
                    <a:pt x="14789" y="8846"/>
                  </a:lnTo>
                  <a:lnTo>
                    <a:pt x="14703" y="8949"/>
                  </a:lnTo>
                  <a:cubicBezTo>
                    <a:pt x="14909" y="8794"/>
                    <a:pt x="14600" y="9138"/>
                    <a:pt x="14549" y="9121"/>
                  </a:cubicBezTo>
                  <a:lnTo>
                    <a:pt x="14686" y="9121"/>
                  </a:lnTo>
                  <a:cubicBezTo>
                    <a:pt x="14549" y="9361"/>
                    <a:pt x="13999" y="9653"/>
                    <a:pt x="14411" y="9121"/>
                  </a:cubicBezTo>
                  <a:cubicBezTo>
                    <a:pt x="14274" y="9207"/>
                    <a:pt x="14205" y="9361"/>
                    <a:pt x="14085" y="9447"/>
                  </a:cubicBezTo>
                  <a:lnTo>
                    <a:pt x="14085" y="9447"/>
                  </a:lnTo>
                  <a:lnTo>
                    <a:pt x="14085" y="9447"/>
                  </a:lnTo>
                  <a:lnTo>
                    <a:pt x="14085" y="9447"/>
                  </a:lnTo>
                  <a:lnTo>
                    <a:pt x="13930" y="9585"/>
                  </a:lnTo>
                  <a:cubicBezTo>
                    <a:pt x="13930" y="9585"/>
                    <a:pt x="13930" y="9585"/>
                    <a:pt x="13930" y="9585"/>
                  </a:cubicBezTo>
                  <a:cubicBezTo>
                    <a:pt x="13930" y="9585"/>
                    <a:pt x="13810" y="9585"/>
                    <a:pt x="13776" y="9585"/>
                  </a:cubicBezTo>
                  <a:cubicBezTo>
                    <a:pt x="13741" y="9585"/>
                    <a:pt x="13260" y="9911"/>
                    <a:pt x="13123" y="9945"/>
                  </a:cubicBezTo>
                  <a:lnTo>
                    <a:pt x="13123" y="9945"/>
                  </a:lnTo>
                  <a:cubicBezTo>
                    <a:pt x="12737" y="10291"/>
                    <a:pt x="12330" y="10612"/>
                    <a:pt x="11903" y="10907"/>
                  </a:cubicBezTo>
                  <a:cubicBezTo>
                    <a:pt x="12900" y="10254"/>
                    <a:pt x="11749" y="11405"/>
                    <a:pt x="11525" y="11405"/>
                  </a:cubicBezTo>
                  <a:cubicBezTo>
                    <a:pt x="11972" y="11405"/>
                    <a:pt x="11732" y="11783"/>
                    <a:pt x="11525" y="12092"/>
                  </a:cubicBezTo>
                  <a:lnTo>
                    <a:pt x="11525" y="12092"/>
                  </a:lnTo>
                  <a:cubicBezTo>
                    <a:pt x="11512" y="12253"/>
                    <a:pt x="11471" y="12409"/>
                    <a:pt x="11405" y="12556"/>
                  </a:cubicBezTo>
                  <a:cubicBezTo>
                    <a:pt x="11525" y="12556"/>
                    <a:pt x="11508" y="12693"/>
                    <a:pt x="11629" y="12693"/>
                  </a:cubicBezTo>
                  <a:lnTo>
                    <a:pt x="11629" y="12693"/>
                  </a:lnTo>
                  <a:cubicBezTo>
                    <a:pt x="11143" y="13178"/>
                    <a:pt x="10727" y="13727"/>
                    <a:pt x="10392" y="14325"/>
                  </a:cubicBezTo>
                  <a:cubicBezTo>
                    <a:pt x="10598" y="14325"/>
                    <a:pt x="10546" y="14325"/>
                    <a:pt x="10753" y="14188"/>
                  </a:cubicBezTo>
                  <a:cubicBezTo>
                    <a:pt x="10753" y="14274"/>
                    <a:pt x="10546" y="14445"/>
                    <a:pt x="10649" y="14514"/>
                  </a:cubicBezTo>
                  <a:cubicBezTo>
                    <a:pt x="11067" y="13670"/>
                    <a:pt x="11757" y="12992"/>
                    <a:pt x="12608" y="12590"/>
                  </a:cubicBezTo>
                  <a:cubicBezTo>
                    <a:pt x="13106" y="12024"/>
                    <a:pt x="13484" y="11337"/>
                    <a:pt x="13999" y="11148"/>
                  </a:cubicBezTo>
                  <a:lnTo>
                    <a:pt x="13999" y="11148"/>
                  </a:lnTo>
                  <a:cubicBezTo>
                    <a:pt x="14085" y="11148"/>
                    <a:pt x="14119" y="10976"/>
                    <a:pt x="14205" y="10976"/>
                  </a:cubicBezTo>
                  <a:cubicBezTo>
                    <a:pt x="14291" y="10976"/>
                    <a:pt x="14205" y="10873"/>
                    <a:pt x="14325" y="10856"/>
                  </a:cubicBezTo>
                  <a:cubicBezTo>
                    <a:pt x="14446" y="10838"/>
                    <a:pt x="15493" y="9808"/>
                    <a:pt x="15081" y="10409"/>
                  </a:cubicBezTo>
                  <a:cubicBezTo>
                    <a:pt x="15081" y="10409"/>
                    <a:pt x="15253" y="10409"/>
                    <a:pt x="15201" y="10409"/>
                  </a:cubicBezTo>
                  <a:lnTo>
                    <a:pt x="15201" y="10409"/>
                  </a:lnTo>
                  <a:cubicBezTo>
                    <a:pt x="15510" y="10409"/>
                    <a:pt x="15201" y="10409"/>
                    <a:pt x="15304" y="10564"/>
                  </a:cubicBezTo>
                  <a:cubicBezTo>
                    <a:pt x="15407" y="10718"/>
                    <a:pt x="15201" y="10649"/>
                    <a:pt x="15167" y="10701"/>
                  </a:cubicBezTo>
                  <a:lnTo>
                    <a:pt x="15167" y="10701"/>
                  </a:lnTo>
                  <a:cubicBezTo>
                    <a:pt x="15167" y="10701"/>
                    <a:pt x="15167" y="10804"/>
                    <a:pt x="15167" y="10856"/>
                  </a:cubicBezTo>
                  <a:lnTo>
                    <a:pt x="15167" y="10856"/>
                  </a:lnTo>
                  <a:cubicBezTo>
                    <a:pt x="15167" y="10856"/>
                    <a:pt x="15167" y="10941"/>
                    <a:pt x="15167" y="10941"/>
                  </a:cubicBezTo>
                  <a:lnTo>
                    <a:pt x="15167" y="10941"/>
                  </a:lnTo>
                  <a:cubicBezTo>
                    <a:pt x="15167" y="10941"/>
                    <a:pt x="15167" y="11027"/>
                    <a:pt x="15047" y="11079"/>
                  </a:cubicBezTo>
                  <a:lnTo>
                    <a:pt x="15047" y="11079"/>
                  </a:lnTo>
                  <a:lnTo>
                    <a:pt x="15047" y="11079"/>
                  </a:lnTo>
                  <a:lnTo>
                    <a:pt x="15047" y="11079"/>
                  </a:lnTo>
                  <a:lnTo>
                    <a:pt x="15047" y="11079"/>
                  </a:lnTo>
                  <a:lnTo>
                    <a:pt x="15047" y="11079"/>
                  </a:lnTo>
                  <a:cubicBezTo>
                    <a:pt x="15201" y="11079"/>
                    <a:pt x="15047" y="11165"/>
                    <a:pt x="15047" y="11216"/>
                  </a:cubicBezTo>
                  <a:cubicBezTo>
                    <a:pt x="15047" y="11268"/>
                    <a:pt x="15150" y="11113"/>
                    <a:pt x="15201" y="11130"/>
                  </a:cubicBezTo>
                  <a:cubicBezTo>
                    <a:pt x="15253" y="11148"/>
                    <a:pt x="14909" y="11337"/>
                    <a:pt x="14789" y="11508"/>
                  </a:cubicBezTo>
                  <a:lnTo>
                    <a:pt x="14789" y="11508"/>
                  </a:lnTo>
                  <a:cubicBezTo>
                    <a:pt x="14789" y="11508"/>
                    <a:pt x="14652" y="11629"/>
                    <a:pt x="14583" y="11508"/>
                  </a:cubicBezTo>
                  <a:cubicBezTo>
                    <a:pt x="14772" y="11680"/>
                    <a:pt x="14308" y="12041"/>
                    <a:pt x="14325" y="11989"/>
                  </a:cubicBezTo>
                  <a:cubicBezTo>
                    <a:pt x="14342" y="11938"/>
                    <a:pt x="14325" y="12144"/>
                    <a:pt x="14325" y="11989"/>
                  </a:cubicBezTo>
                  <a:cubicBezTo>
                    <a:pt x="14325" y="11835"/>
                    <a:pt x="14119" y="12264"/>
                    <a:pt x="14016" y="12367"/>
                  </a:cubicBezTo>
                  <a:cubicBezTo>
                    <a:pt x="14291" y="12178"/>
                    <a:pt x="14360" y="12144"/>
                    <a:pt x="14016" y="12367"/>
                  </a:cubicBezTo>
                  <a:cubicBezTo>
                    <a:pt x="14016" y="12367"/>
                    <a:pt x="14308" y="12127"/>
                    <a:pt x="14308" y="12230"/>
                  </a:cubicBezTo>
                  <a:cubicBezTo>
                    <a:pt x="14308" y="12333"/>
                    <a:pt x="14463" y="12109"/>
                    <a:pt x="14549" y="12075"/>
                  </a:cubicBezTo>
                  <a:cubicBezTo>
                    <a:pt x="14564" y="12131"/>
                    <a:pt x="14564" y="12191"/>
                    <a:pt x="14549" y="12247"/>
                  </a:cubicBezTo>
                  <a:cubicBezTo>
                    <a:pt x="14549" y="12161"/>
                    <a:pt x="14961" y="11800"/>
                    <a:pt x="14995" y="11921"/>
                  </a:cubicBezTo>
                  <a:cubicBezTo>
                    <a:pt x="15030" y="12041"/>
                    <a:pt x="14995" y="11921"/>
                    <a:pt x="14995" y="11921"/>
                  </a:cubicBezTo>
                  <a:cubicBezTo>
                    <a:pt x="14995" y="11921"/>
                    <a:pt x="14995" y="11817"/>
                    <a:pt x="15133" y="11817"/>
                  </a:cubicBezTo>
                  <a:lnTo>
                    <a:pt x="15133" y="11817"/>
                  </a:lnTo>
                  <a:cubicBezTo>
                    <a:pt x="15133" y="11732"/>
                    <a:pt x="15579" y="11457"/>
                    <a:pt x="15442" y="11577"/>
                  </a:cubicBezTo>
                  <a:lnTo>
                    <a:pt x="15442" y="11577"/>
                  </a:lnTo>
                  <a:cubicBezTo>
                    <a:pt x="15442" y="11577"/>
                    <a:pt x="15442" y="11697"/>
                    <a:pt x="15322" y="11697"/>
                  </a:cubicBezTo>
                  <a:cubicBezTo>
                    <a:pt x="15201" y="11697"/>
                    <a:pt x="15322" y="11697"/>
                    <a:pt x="15322" y="11783"/>
                  </a:cubicBezTo>
                  <a:lnTo>
                    <a:pt x="15322" y="11783"/>
                  </a:lnTo>
                  <a:cubicBezTo>
                    <a:pt x="15218" y="11783"/>
                    <a:pt x="15322" y="11955"/>
                    <a:pt x="15150" y="12006"/>
                  </a:cubicBezTo>
                  <a:cubicBezTo>
                    <a:pt x="14978" y="12058"/>
                    <a:pt x="15150" y="12127"/>
                    <a:pt x="15150" y="12006"/>
                  </a:cubicBezTo>
                  <a:cubicBezTo>
                    <a:pt x="15150" y="11886"/>
                    <a:pt x="14789" y="12161"/>
                    <a:pt x="15150" y="12144"/>
                  </a:cubicBezTo>
                  <a:cubicBezTo>
                    <a:pt x="15510" y="12127"/>
                    <a:pt x="14961" y="12298"/>
                    <a:pt x="15150" y="12247"/>
                  </a:cubicBezTo>
                  <a:cubicBezTo>
                    <a:pt x="15339" y="12195"/>
                    <a:pt x="14995" y="12419"/>
                    <a:pt x="14978" y="12247"/>
                  </a:cubicBezTo>
                  <a:cubicBezTo>
                    <a:pt x="14961" y="12075"/>
                    <a:pt x="14978" y="12333"/>
                    <a:pt x="14978" y="12350"/>
                  </a:cubicBezTo>
                  <a:cubicBezTo>
                    <a:pt x="14978" y="12367"/>
                    <a:pt x="15098" y="12350"/>
                    <a:pt x="15150" y="12350"/>
                  </a:cubicBezTo>
                  <a:cubicBezTo>
                    <a:pt x="15201" y="12350"/>
                    <a:pt x="14961" y="12350"/>
                    <a:pt x="14892" y="12505"/>
                  </a:cubicBezTo>
                  <a:cubicBezTo>
                    <a:pt x="15133" y="12505"/>
                    <a:pt x="15047" y="12505"/>
                    <a:pt x="14892" y="12608"/>
                  </a:cubicBezTo>
                  <a:cubicBezTo>
                    <a:pt x="14738" y="12711"/>
                    <a:pt x="14892" y="12608"/>
                    <a:pt x="14995" y="12608"/>
                  </a:cubicBezTo>
                  <a:cubicBezTo>
                    <a:pt x="15011" y="12682"/>
                    <a:pt x="14963" y="12755"/>
                    <a:pt x="14889" y="12770"/>
                  </a:cubicBezTo>
                  <a:cubicBezTo>
                    <a:pt x="14861" y="12776"/>
                    <a:pt x="14832" y="12773"/>
                    <a:pt x="14806" y="12762"/>
                  </a:cubicBezTo>
                  <a:cubicBezTo>
                    <a:pt x="14806" y="12762"/>
                    <a:pt x="14961" y="12848"/>
                    <a:pt x="14806" y="12917"/>
                  </a:cubicBezTo>
                  <a:cubicBezTo>
                    <a:pt x="14995" y="13020"/>
                    <a:pt x="14600" y="13157"/>
                    <a:pt x="14566" y="13089"/>
                  </a:cubicBezTo>
                  <a:cubicBezTo>
                    <a:pt x="14531" y="13020"/>
                    <a:pt x="14566" y="13363"/>
                    <a:pt x="14411" y="13312"/>
                  </a:cubicBezTo>
                  <a:cubicBezTo>
                    <a:pt x="14257" y="13260"/>
                    <a:pt x="14669" y="13312"/>
                    <a:pt x="14531" y="13415"/>
                  </a:cubicBezTo>
                  <a:cubicBezTo>
                    <a:pt x="14394" y="13518"/>
                    <a:pt x="14531" y="13415"/>
                    <a:pt x="14531" y="13501"/>
                  </a:cubicBezTo>
                  <a:cubicBezTo>
                    <a:pt x="14531" y="13587"/>
                    <a:pt x="14531" y="13501"/>
                    <a:pt x="14531" y="13621"/>
                  </a:cubicBezTo>
                  <a:lnTo>
                    <a:pt x="14634" y="13621"/>
                  </a:lnTo>
                  <a:cubicBezTo>
                    <a:pt x="14634" y="13707"/>
                    <a:pt x="14428" y="13879"/>
                    <a:pt x="14325" y="13844"/>
                  </a:cubicBezTo>
                  <a:cubicBezTo>
                    <a:pt x="14222" y="13810"/>
                    <a:pt x="14480" y="13844"/>
                    <a:pt x="14549" y="13844"/>
                  </a:cubicBezTo>
                  <a:cubicBezTo>
                    <a:pt x="14325" y="14050"/>
                    <a:pt x="14549" y="13844"/>
                    <a:pt x="14549" y="13844"/>
                  </a:cubicBezTo>
                  <a:cubicBezTo>
                    <a:pt x="14549" y="13844"/>
                    <a:pt x="14549" y="13844"/>
                    <a:pt x="14394" y="13999"/>
                  </a:cubicBezTo>
                  <a:cubicBezTo>
                    <a:pt x="14394" y="13999"/>
                    <a:pt x="14686" y="13810"/>
                    <a:pt x="14549" y="13999"/>
                  </a:cubicBezTo>
                  <a:lnTo>
                    <a:pt x="14549" y="13999"/>
                  </a:lnTo>
                  <a:cubicBezTo>
                    <a:pt x="14549" y="13999"/>
                    <a:pt x="14463" y="14102"/>
                    <a:pt x="14446" y="14153"/>
                  </a:cubicBezTo>
                  <a:cubicBezTo>
                    <a:pt x="14428" y="14205"/>
                    <a:pt x="14755" y="14153"/>
                    <a:pt x="14549" y="14153"/>
                  </a:cubicBezTo>
                  <a:cubicBezTo>
                    <a:pt x="14806" y="14342"/>
                    <a:pt x="14205" y="14239"/>
                    <a:pt x="14119" y="14360"/>
                  </a:cubicBezTo>
                  <a:cubicBezTo>
                    <a:pt x="14566" y="14360"/>
                    <a:pt x="13982" y="14360"/>
                    <a:pt x="13896" y="14497"/>
                  </a:cubicBezTo>
                  <a:cubicBezTo>
                    <a:pt x="13870" y="14437"/>
                    <a:pt x="13870" y="14368"/>
                    <a:pt x="13896" y="14308"/>
                  </a:cubicBezTo>
                  <a:cubicBezTo>
                    <a:pt x="13896" y="14445"/>
                    <a:pt x="13896" y="14531"/>
                    <a:pt x="13793" y="14634"/>
                  </a:cubicBezTo>
                  <a:cubicBezTo>
                    <a:pt x="13982" y="14634"/>
                    <a:pt x="14188" y="14342"/>
                    <a:pt x="14428" y="14411"/>
                  </a:cubicBezTo>
                  <a:cubicBezTo>
                    <a:pt x="14308" y="14257"/>
                    <a:pt x="14806" y="14411"/>
                    <a:pt x="14428" y="14617"/>
                  </a:cubicBezTo>
                  <a:cubicBezTo>
                    <a:pt x="14428" y="14617"/>
                    <a:pt x="14428" y="14617"/>
                    <a:pt x="14428" y="14617"/>
                  </a:cubicBezTo>
                  <a:cubicBezTo>
                    <a:pt x="14428" y="14617"/>
                    <a:pt x="14703" y="14463"/>
                    <a:pt x="14566" y="14617"/>
                  </a:cubicBezTo>
                  <a:cubicBezTo>
                    <a:pt x="14428" y="14772"/>
                    <a:pt x="14669" y="14617"/>
                    <a:pt x="14652" y="14617"/>
                  </a:cubicBezTo>
                  <a:cubicBezTo>
                    <a:pt x="14634" y="14617"/>
                    <a:pt x="14652" y="14789"/>
                    <a:pt x="14497" y="14772"/>
                  </a:cubicBezTo>
                  <a:cubicBezTo>
                    <a:pt x="14600" y="14772"/>
                    <a:pt x="14360" y="14995"/>
                    <a:pt x="14360" y="14875"/>
                  </a:cubicBezTo>
                  <a:cubicBezTo>
                    <a:pt x="14360" y="14755"/>
                    <a:pt x="14549" y="15047"/>
                    <a:pt x="14360" y="15012"/>
                  </a:cubicBezTo>
                  <a:cubicBezTo>
                    <a:pt x="14583" y="15115"/>
                    <a:pt x="13879" y="15407"/>
                    <a:pt x="13844" y="15287"/>
                  </a:cubicBezTo>
                  <a:cubicBezTo>
                    <a:pt x="13810" y="15167"/>
                    <a:pt x="13724" y="15287"/>
                    <a:pt x="13844" y="15287"/>
                  </a:cubicBezTo>
                  <a:cubicBezTo>
                    <a:pt x="13381" y="15682"/>
                    <a:pt x="13003" y="15734"/>
                    <a:pt x="12590" y="15407"/>
                  </a:cubicBezTo>
                  <a:cubicBezTo>
                    <a:pt x="12590" y="15407"/>
                    <a:pt x="12213" y="15407"/>
                    <a:pt x="12247" y="15253"/>
                  </a:cubicBezTo>
                  <a:cubicBezTo>
                    <a:pt x="11629" y="15631"/>
                    <a:pt x="11062" y="16026"/>
                    <a:pt x="10426" y="16369"/>
                  </a:cubicBezTo>
                  <a:cubicBezTo>
                    <a:pt x="10849" y="16193"/>
                    <a:pt x="11326" y="16193"/>
                    <a:pt x="11749" y="16369"/>
                  </a:cubicBezTo>
                  <a:cubicBezTo>
                    <a:pt x="11704" y="16429"/>
                    <a:pt x="11645" y="16477"/>
                    <a:pt x="11577" y="16507"/>
                  </a:cubicBezTo>
                  <a:cubicBezTo>
                    <a:pt x="11749" y="16507"/>
                    <a:pt x="11354" y="16885"/>
                    <a:pt x="11577" y="16936"/>
                  </a:cubicBezTo>
                  <a:cubicBezTo>
                    <a:pt x="11405" y="17022"/>
                    <a:pt x="11732" y="17262"/>
                    <a:pt x="11835" y="17125"/>
                  </a:cubicBezTo>
                  <a:cubicBezTo>
                    <a:pt x="11835" y="17125"/>
                    <a:pt x="11972" y="17262"/>
                    <a:pt x="11835" y="17245"/>
                  </a:cubicBezTo>
                  <a:cubicBezTo>
                    <a:pt x="12075" y="17245"/>
                    <a:pt x="11182" y="17520"/>
                    <a:pt x="11251" y="17365"/>
                  </a:cubicBezTo>
                  <a:cubicBezTo>
                    <a:pt x="11101" y="17505"/>
                    <a:pt x="10940" y="17631"/>
                    <a:pt x="10770" y="17743"/>
                  </a:cubicBezTo>
                  <a:lnTo>
                    <a:pt x="10770" y="17743"/>
                  </a:lnTo>
                  <a:cubicBezTo>
                    <a:pt x="10667" y="17743"/>
                    <a:pt x="10770" y="17589"/>
                    <a:pt x="10770" y="17640"/>
                  </a:cubicBezTo>
                  <a:cubicBezTo>
                    <a:pt x="10770" y="17417"/>
                    <a:pt x="11371" y="16988"/>
                    <a:pt x="11371" y="17280"/>
                  </a:cubicBezTo>
                  <a:cubicBezTo>
                    <a:pt x="11371" y="17177"/>
                    <a:pt x="11491" y="17280"/>
                    <a:pt x="11543" y="17194"/>
                  </a:cubicBezTo>
                  <a:cubicBezTo>
                    <a:pt x="11233" y="17073"/>
                    <a:pt x="11233" y="17194"/>
                    <a:pt x="11543" y="16970"/>
                  </a:cubicBezTo>
                  <a:lnTo>
                    <a:pt x="11543" y="16970"/>
                  </a:lnTo>
                  <a:lnTo>
                    <a:pt x="11543" y="16970"/>
                  </a:lnTo>
                  <a:cubicBezTo>
                    <a:pt x="11543" y="17073"/>
                    <a:pt x="11045" y="17245"/>
                    <a:pt x="11233" y="16970"/>
                  </a:cubicBezTo>
                  <a:cubicBezTo>
                    <a:pt x="11096" y="17125"/>
                    <a:pt x="11045" y="17073"/>
                    <a:pt x="10924" y="16970"/>
                  </a:cubicBezTo>
                  <a:cubicBezTo>
                    <a:pt x="10804" y="16867"/>
                    <a:pt x="10924" y="17091"/>
                    <a:pt x="10924" y="17159"/>
                  </a:cubicBezTo>
                  <a:cubicBezTo>
                    <a:pt x="10924" y="17228"/>
                    <a:pt x="10924" y="17331"/>
                    <a:pt x="10924" y="17159"/>
                  </a:cubicBezTo>
                  <a:cubicBezTo>
                    <a:pt x="10924" y="16988"/>
                    <a:pt x="10598" y="17314"/>
                    <a:pt x="10667" y="17159"/>
                  </a:cubicBezTo>
                  <a:cubicBezTo>
                    <a:pt x="10735" y="17005"/>
                    <a:pt x="10478" y="17245"/>
                    <a:pt x="10667" y="17159"/>
                  </a:cubicBezTo>
                  <a:cubicBezTo>
                    <a:pt x="10856" y="17073"/>
                    <a:pt x="10546" y="17297"/>
                    <a:pt x="10478" y="17331"/>
                  </a:cubicBezTo>
                  <a:lnTo>
                    <a:pt x="10478" y="17331"/>
                  </a:lnTo>
                  <a:cubicBezTo>
                    <a:pt x="10478" y="17331"/>
                    <a:pt x="10478" y="17417"/>
                    <a:pt x="10478" y="17331"/>
                  </a:cubicBezTo>
                  <a:cubicBezTo>
                    <a:pt x="10478" y="17245"/>
                    <a:pt x="10357" y="17469"/>
                    <a:pt x="10478" y="17331"/>
                  </a:cubicBezTo>
                  <a:cubicBezTo>
                    <a:pt x="10254" y="17331"/>
                    <a:pt x="9722" y="18345"/>
                    <a:pt x="10083" y="18001"/>
                  </a:cubicBezTo>
                  <a:cubicBezTo>
                    <a:pt x="10083" y="18138"/>
                    <a:pt x="9842" y="18327"/>
                    <a:pt x="9911" y="18087"/>
                  </a:cubicBezTo>
                  <a:cubicBezTo>
                    <a:pt x="9773" y="18259"/>
                    <a:pt x="9791" y="18241"/>
                    <a:pt x="9808" y="18087"/>
                  </a:cubicBezTo>
                  <a:cubicBezTo>
                    <a:pt x="9360" y="18252"/>
                    <a:pt x="8984" y="18568"/>
                    <a:pt x="8743" y="18980"/>
                  </a:cubicBezTo>
                  <a:lnTo>
                    <a:pt x="8743" y="18980"/>
                  </a:lnTo>
                  <a:lnTo>
                    <a:pt x="8743" y="18980"/>
                  </a:lnTo>
                  <a:cubicBezTo>
                    <a:pt x="8743" y="18980"/>
                    <a:pt x="8743" y="18825"/>
                    <a:pt x="8743" y="18740"/>
                  </a:cubicBezTo>
                  <a:cubicBezTo>
                    <a:pt x="8605" y="18980"/>
                    <a:pt x="8588" y="19289"/>
                    <a:pt x="8365" y="19495"/>
                  </a:cubicBezTo>
                  <a:lnTo>
                    <a:pt x="8365" y="19495"/>
                  </a:lnTo>
                  <a:lnTo>
                    <a:pt x="8262" y="19650"/>
                  </a:lnTo>
                  <a:cubicBezTo>
                    <a:pt x="8298" y="19536"/>
                    <a:pt x="8356" y="19431"/>
                    <a:pt x="8434" y="19341"/>
                  </a:cubicBezTo>
                  <a:cubicBezTo>
                    <a:pt x="8434" y="19341"/>
                    <a:pt x="8434" y="19255"/>
                    <a:pt x="8434" y="19221"/>
                  </a:cubicBezTo>
                  <a:lnTo>
                    <a:pt x="8434" y="19221"/>
                  </a:lnTo>
                  <a:cubicBezTo>
                    <a:pt x="8434" y="19014"/>
                    <a:pt x="8605" y="18860"/>
                    <a:pt x="8674" y="18671"/>
                  </a:cubicBezTo>
                  <a:cubicBezTo>
                    <a:pt x="8545" y="18838"/>
                    <a:pt x="8441" y="19023"/>
                    <a:pt x="8365" y="19221"/>
                  </a:cubicBezTo>
                  <a:cubicBezTo>
                    <a:pt x="8365" y="19117"/>
                    <a:pt x="8365" y="19032"/>
                    <a:pt x="8365" y="18929"/>
                  </a:cubicBezTo>
                  <a:cubicBezTo>
                    <a:pt x="8365" y="18825"/>
                    <a:pt x="8365" y="19581"/>
                    <a:pt x="8365" y="19324"/>
                  </a:cubicBezTo>
                  <a:cubicBezTo>
                    <a:pt x="8365" y="19324"/>
                    <a:pt x="8365" y="19598"/>
                    <a:pt x="8365" y="19530"/>
                  </a:cubicBezTo>
                  <a:cubicBezTo>
                    <a:pt x="8365" y="19461"/>
                    <a:pt x="8365" y="19616"/>
                    <a:pt x="8365" y="19650"/>
                  </a:cubicBezTo>
                  <a:cubicBezTo>
                    <a:pt x="8374" y="19605"/>
                    <a:pt x="8374" y="19558"/>
                    <a:pt x="8365" y="19513"/>
                  </a:cubicBezTo>
                  <a:cubicBezTo>
                    <a:pt x="8365" y="19650"/>
                    <a:pt x="8502" y="19719"/>
                    <a:pt x="8365" y="19856"/>
                  </a:cubicBezTo>
                  <a:lnTo>
                    <a:pt x="8365" y="19856"/>
                  </a:lnTo>
                  <a:cubicBezTo>
                    <a:pt x="8365" y="19993"/>
                    <a:pt x="8176" y="20148"/>
                    <a:pt x="8210" y="19976"/>
                  </a:cubicBezTo>
                  <a:cubicBezTo>
                    <a:pt x="8245" y="19805"/>
                    <a:pt x="8210" y="20079"/>
                    <a:pt x="8210" y="20097"/>
                  </a:cubicBezTo>
                  <a:cubicBezTo>
                    <a:pt x="8210" y="20114"/>
                    <a:pt x="8296" y="20097"/>
                    <a:pt x="8313" y="20234"/>
                  </a:cubicBezTo>
                  <a:cubicBezTo>
                    <a:pt x="8304" y="20200"/>
                    <a:pt x="8304" y="20165"/>
                    <a:pt x="8313" y="20131"/>
                  </a:cubicBezTo>
                  <a:cubicBezTo>
                    <a:pt x="8313" y="20234"/>
                    <a:pt x="8313" y="20285"/>
                    <a:pt x="8176" y="20354"/>
                  </a:cubicBezTo>
                  <a:cubicBezTo>
                    <a:pt x="8039" y="20423"/>
                    <a:pt x="8176" y="20354"/>
                    <a:pt x="8176" y="20251"/>
                  </a:cubicBezTo>
                  <a:cubicBezTo>
                    <a:pt x="8176" y="20148"/>
                    <a:pt x="8176" y="20251"/>
                    <a:pt x="8176" y="20251"/>
                  </a:cubicBezTo>
                  <a:cubicBezTo>
                    <a:pt x="8176" y="20251"/>
                    <a:pt x="8176" y="20474"/>
                    <a:pt x="8176" y="20389"/>
                  </a:cubicBezTo>
                  <a:lnTo>
                    <a:pt x="8176" y="20389"/>
                  </a:lnTo>
                  <a:lnTo>
                    <a:pt x="8176" y="20389"/>
                  </a:lnTo>
                  <a:lnTo>
                    <a:pt x="8176" y="20389"/>
                  </a:lnTo>
                  <a:cubicBezTo>
                    <a:pt x="6991" y="20389"/>
                    <a:pt x="6458" y="24992"/>
                    <a:pt x="6579" y="22982"/>
                  </a:cubicBezTo>
                  <a:cubicBezTo>
                    <a:pt x="6579" y="22982"/>
                    <a:pt x="6579" y="22982"/>
                    <a:pt x="6579" y="22982"/>
                  </a:cubicBezTo>
                  <a:cubicBezTo>
                    <a:pt x="6579" y="22982"/>
                    <a:pt x="6579" y="22982"/>
                    <a:pt x="6579" y="22982"/>
                  </a:cubicBezTo>
                  <a:lnTo>
                    <a:pt x="6579" y="22982"/>
                  </a:lnTo>
                  <a:cubicBezTo>
                    <a:pt x="6579" y="22879"/>
                    <a:pt x="6579" y="22707"/>
                    <a:pt x="6579" y="22604"/>
                  </a:cubicBezTo>
                  <a:cubicBezTo>
                    <a:pt x="6579" y="22501"/>
                    <a:pt x="6579" y="22604"/>
                    <a:pt x="6579" y="22707"/>
                  </a:cubicBezTo>
                  <a:cubicBezTo>
                    <a:pt x="6579" y="22810"/>
                    <a:pt x="6853" y="21780"/>
                    <a:pt x="6579" y="21745"/>
                  </a:cubicBezTo>
                  <a:cubicBezTo>
                    <a:pt x="6304" y="21711"/>
                    <a:pt x="6476" y="21849"/>
                    <a:pt x="6579" y="21745"/>
                  </a:cubicBezTo>
                  <a:lnTo>
                    <a:pt x="6579" y="21745"/>
                  </a:lnTo>
                  <a:lnTo>
                    <a:pt x="6579" y="21745"/>
                  </a:lnTo>
                  <a:cubicBezTo>
                    <a:pt x="6579" y="21745"/>
                    <a:pt x="6579" y="21574"/>
                    <a:pt x="6579" y="21642"/>
                  </a:cubicBezTo>
                  <a:cubicBezTo>
                    <a:pt x="6587" y="21603"/>
                    <a:pt x="6587" y="21562"/>
                    <a:pt x="6579" y="21522"/>
                  </a:cubicBezTo>
                  <a:lnTo>
                    <a:pt x="6579" y="21522"/>
                  </a:lnTo>
                  <a:cubicBezTo>
                    <a:pt x="6579" y="21522"/>
                    <a:pt x="6579" y="21436"/>
                    <a:pt x="6579" y="21385"/>
                  </a:cubicBezTo>
                  <a:lnTo>
                    <a:pt x="6579" y="21385"/>
                  </a:lnTo>
                  <a:cubicBezTo>
                    <a:pt x="6579" y="21385"/>
                    <a:pt x="6579" y="21385"/>
                    <a:pt x="6579" y="21385"/>
                  </a:cubicBezTo>
                  <a:cubicBezTo>
                    <a:pt x="6579" y="21385"/>
                    <a:pt x="6579" y="21385"/>
                    <a:pt x="6579" y="21385"/>
                  </a:cubicBezTo>
                  <a:cubicBezTo>
                    <a:pt x="6579" y="21385"/>
                    <a:pt x="6579" y="21282"/>
                    <a:pt x="6579" y="21230"/>
                  </a:cubicBezTo>
                  <a:lnTo>
                    <a:pt x="6579" y="21333"/>
                  </a:lnTo>
                  <a:cubicBezTo>
                    <a:pt x="6579" y="21230"/>
                    <a:pt x="6390" y="21333"/>
                    <a:pt x="6373" y="21453"/>
                  </a:cubicBezTo>
                  <a:lnTo>
                    <a:pt x="6373" y="21453"/>
                  </a:lnTo>
                  <a:cubicBezTo>
                    <a:pt x="6373" y="21642"/>
                    <a:pt x="6373" y="21763"/>
                    <a:pt x="6373" y="21849"/>
                  </a:cubicBezTo>
                  <a:cubicBezTo>
                    <a:pt x="6373" y="21934"/>
                    <a:pt x="6373" y="21471"/>
                    <a:pt x="6373" y="21763"/>
                  </a:cubicBezTo>
                  <a:lnTo>
                    <a:pt x="6373" y="21660"/>
                  </a:lnTo>
                  <a:cubicBezTo>
                    <a:pt x="6373" y="21539"/>
                    <a:pt x="6373" y="21471"/>
                    <a:pt x="6373" y="21350"/>
                  </a:cubicBezTo>
                  <a:cubicBezTo>
                    <a:pt x="6373" y="21230"/>
                    <a:pt x="6373" y="21350"/>
                    <a:pt x="6373" y="21350"/>
                  </a:cubicBezTo>
                  <a:cubicBezTo>
                    <a:pt x="6373" y="21591"/>
                    <a:pt x="6373" y="21076"/>
                    <a:pt x="6184" y="21350"/>
                  </a:cubicBezTo>
                  <a:cubicBezTo>
                    <a:pt x="6184" y="21350"/>
                    <a:pt x="6184" y="21196"/>
                    <a:pt x="6184" y="21127"/>
                  </a:cubicBezTo>
                  <a:cubicBezTo>
                    <a:pt x="6184" y="21058"/>
                    <a:pt x="6184" y="21247"/>
                    <a:pt x="6184" y="21127"/>
                  </a:cubicBezTo>
                  <a:cubicBezTo>
                    <a:pt x="6193" y="21213"/>
                    <a:pt x="6193" y="21299"/>
                    <a:pt x="6184" y="21385"/>
                  </a:cubicBezTo>
                  <a:lnTo>
                    <a:pt x="6184" y="21385"/>
                  </a:lnTo>
                  <a:lnTo>
                    <a:pt x="6184" y="21505"/>
                  </a:lnTo>
                  <a:lnTo>
                    <a:pt x="6184" y="21505"/>
                  </a:lnTo>
                  <a:cubicBezTo>
                    <a:pt x="6184" y="21591"/>
                    <a:pt x="6184" y="21505"/>
                    <a:pt x="6184" y="21505"/>
                  </a:cubicBezTo>
                  <a:lnTo>
                    <a:pt x="6184" y="21505"/>
                  </a:lnTo>
                  <a:cubicBezTo>
                    <a:pt x="6184" y="21505"/>
                    <a:pt x="6184" y="21505"/>
                    <a:pt x="6184" y="21505"/>
                  </a:cubicBezTo>
                  <a:lnTo>
                    <a:pt x="6184" y="21505"/>
                  </a:lnTo>
                  <a:cubicBezTo>
                    <a:pt x="6184" y="21505"/>
                    <a:pt x="6184" y="21608"/>
                    <a:pt x="6184" y="21608"/>
                  </a:cubicBezTo>
                  <a:lnTo>
                    <a:pt x="6184" y="21608"/>
                  </a:lnTo>
                  <a:cubicBezTo>
                    <a:pt x="6085" y="21918"/>
                    <a:pt x="6005" y="22233"/>
                    <a:pt x="5943" y="22553"/>
                  </a:cubicBezTo>
                  <a:cubicBezTo>
                    <a:pt x="5943" y="22553"/>
                    <a:pt x="5943" y="22433"/>
                    <a:pt x="5943" y="22398"/>
                  </a:cubicBezTo>
                  <a:cubicBezTo>
                    <a:pt x="5943" y="22364"/>
                    <a:pt x="5840" y="22862"/>
                    <a:pt x="5943" y="22621"/>
                  </a:cubicBezTo>
                  <a:cubicBezTo>
                    <a:pt x="5838" y="23115"/>
                    <a:pt x="5758" y="23614"/>
                    <a:pt x="5703" y="24116"/>
                  </a:cubicBezTo>
                  <a:cubicBezTo>
                    <a:pt x="5668" y="24579"/>
                    <a:pt x="5668" y="25044"/>
                    <a:pt x="5703" y="25507"/>
                  </a:cubicBezTo>
                  <a:cubicBezTo>
                    <a:pt x="5703" y="25507"/>
                    <a:pt x="5703" y="25507"/>
                    <a:pt x="5703" y="25507"/>
                  </a:cubicBezTo>
                  <a:cubicBezTo>
                    <a:pt x="5709" y="25479"/>
                    <a:pt x="5709" y="25449"/>
                    <a:pt x="5703" y="25421"/>
                  </a:cubicBezTo>
                  <a:lnTo>
                    <a:pt x="5703" y="25421"/>
                  </a:lnTo>
                  <a:cubicBezTo>
                    <a:pt x="5703" y="25421"/>
                    <a:pt x="5703" y="25421"/>
                    <a:pt x="5703" y="25421"/>
                  </a:cubicBezTo>
                  <a:lnTo>
                    <a:pt x="5703" y="25421"/>
                  </a:lnTo>
                  <a:cubicBezTo>
                    <a:pt x="5703" y="25421"/>
                    <a:pt x="5703" y="25559"/>
                    <a:pt x="5703" y="25627"/>
                  </a:cubicBezTo>
                  <a:lnTo>
                    <a:pt x="5703" y="25627"/>
                  </a:lnTo>
                  <a:lnTo>
                    <a:pt x="5703" y="25627"/>
                  </a:lnTo>
                  <a:cubicBezTo>
                    <a:pt x="5711" y="25553"/>
                    <a:pt x="5711" y="25478"/>
                    <a:pt x="5703" y="25404"/>
                  </a:cubicBezTo>
                  <a:lnTo>
                    <a:pt x="5703" y="25404"/>
                  </a:lnTo>
                  <a:cubicBezTo>
                    <a:pt x="5857" y="25249"/>
                    <a:pt x="5703" y="24511"/>
                    <a:pt x="5995" y="24665"/>
                  </a:cubicBezTo>
                  <a:cubicBezTo>
                    <a:pt x="5995" y="24665"/>
                    <a:pt x="5995" y="24562"/>
                    <a:pt x="5995" y="24665"/>
                  </a:cubicBezTo>
                  <a:cubicBezTo>
                    <a:pt x="5995" y="24769"/>
                    <a:pt x="5995" y="24665"/>
                    <a:pt x="5995" y="24665"/>
                  </a:cubicBezTo>
                  <a:cubicBezTo>
                    <a:pt x="5995" y="24665"/>
                    <a:pt x="5995" y="24820"/>
                    <a:pt x="5995" y="24665"/>
                  </a:cubicBezTo>
                  <a:cubicBezTo>
                    <a:pt x="6098" y="24957"/>
                    <a:pt x="5806" y="25284"/>
                    <a:pt x="5857" y="25593"/>
                  </a:cubicBezTo>
                  <a:cubicBezTo>
                    <a:pt x="5857" y="25593"/>
                    <a:pt x="5857" y="25868"/>
                    <a:pt x="5857" y="25919"/>
                  </a:cubicBezTo>
                  <a:cubicBezTo>
                    <a:pt x="5814" y="26294"/>
                    <a:pt x="5476" y="26563"/>
                    <a:pt x="5101" y="26521"/>
                  </a:cubicBezTo>
                  <a:cubicBezTo>
                    <a:pt x="4727" y="26478"/>
                    <a:pt x="4457" y="26140"/>
                    <a:pt x="4500" y="25765"/>
                  </a:cubicBezTo>
                  <a:cubicBezTo>
                    <a:pt x="4500" y="25954"/>
                    <a:pt x="4500" y="26349"/>
                    <a:pt x="4397" y="26658"/>
                  </a:cubicBezTo>
                  <a:lnTo>
                    <a:pt x="4397" y="26658"/>
                  </a:lnTo>
                  <a:cubicBezTo>
                    <a:pt x="4380" y="26726"/>
                    <a:pt x="4380" y="26796"/>
                    <a:pt x="4397" y="26864"/>
                  </a:cubicBezTo>
                  <a:lnTo>
                    <a:pt x="4397" y="26864"/>
                  </a:lnTo>
                  <a:cubicBezTo>
                    <a:pt x="4397" y="26864"/>
                    <a:pt x="4397" y="26864"/>
                    <a:pt x="4397" y="26950"/>
                  </a:cubicBezTo>
                  <a:cubicBezTo>
                    <a:pt x="4397" y="27036"/>
                    <a:pt x="4603" y="27139"/>
                    <a:pt x="4586" y="26950"/>
                  </a:cubicBezTo>
                  <a:cubicBezTo>
                    <a:pt x="4586" y="27053"/>
                    <a:pt x="4586" y="27105"/>
                    <a:pt x="4724" y="27190"/>
                  </a:cubicBezTo>
                  <a:lnTo>
                    <a:pt x="4724" y="27190"/>
                  </a:lnTo>
                  <a:cubicBezTo>
                    <a:pt x="4738" y="27241"/>
                    <a:pt x="4738" y="27295"/>
                    <a:pt x="4724" y="27345"/>
                  </a:cubicBezTo>
                  <a:cubicBezTo>
                    <a:pt x="4724" y="27208"/>
                    <a:pt x="4724" y="27345"/>
                    <a:pt x="4724" y="27448"/>
                  </a:cubicBezTo>
                  <a:lnTo>
                    <a:pt x="4724" y="27448"/>
                  </a:lnTo>
                  <a:cubicBezTo>
                    <a:pt x="4767" y="27681"/>
                    <a:pt x="4767" y="27920"/>
                    <a:pt x="4724" y="28152"/>
                  </a:cubicBezTo>
                  <a:lnTo>
                    <a:pt x="4724" y="28152"/>
                  </a:lnTo>
                  <a:cubicBezTo>
                    <a:pt x="4732" y="28307"/>
                    <a:pt x="4732" y="28462"/>
                    <a:pt x="4724" y="28616"/>
                  </a:cubicBezTo>
                  <a:cubicBezTo>
                    <a:pt x="4724" y="28616"/>
                    <a:pt x="4724" y="28513"/>
                    <a:pt x="4724" y="28444"/>
                  </a:cubicBezTo>
                  <a:cubicBezTo>
                    <a:pt x="4715" y="28564"/>
                    <a:pt x="4715" y="28685"/>
                    <a:pt x="4724" y="28805"/>
                  </a:cubicBezTo>
                  <a:cubicBezTo>
                    <a:pt x="4734" y="28777"/>
                    <a:pt x="4734" y="28747"/>
                    <a:pt x="4724" y="28719"/>
                  </a:cubicBezTo>
                  <a:cubicBezTo>
                    <a:pt x="4697" y="28861"/>
                    <a:pt x="4697" y="29007"/>
                    <a:pt x="4724" y="29149"/>
                  </a:cubicBezTo>
                  <a:cubicBezTo>
                    <a:pt x="4724" y="29063"/>
                    <a:pt x="4947" y="30042"/>
                    <a:pt x="4930" y="29733"/>
                  </a:cubicBezTo>
                  <a:cubicBezTo>
                    <a:pt x="5136" y="30265"/>
                    <a:pt x="5170" y="29131"/>
                    <a:pt x="5634" y="30471"/>
                  </a:cubicBezTo>
                  <a:cubicBezTo>
                    <a:pt x="5634" y="30368"/>
                    <a:pt x="5634" y="29337"/>
                    <a:pt x="5960" y="29595"/>
                  </a:cubicBezTo>
                  <a:cubicBezTo>
                    <a:pt x="5960" y="29818"/>
                    <a:pt x="5960" y="29595"/>
                    <a:pt x="5960" y="29475"/>
                  </a:cubicBezTo>
                  <a:cubicBezTo>
                    <a:pt x="5960" y="29355"/>
                    <a:pt x="6252" y="29303"/>
                    <a:pt x="6355" y="29234"/>
                  </a:cubicBezTo>
                  <a:cubicBezTo>
                    <a:pt x="6476" y="29458"/>
                    <a:pt x="6355" y="29836"/>
                    <a:pt x="6355" y="30145"/>
                  </a:cubicBezTo>
                  <a:cubicBezTo>
                    <a:pt x="6630" y="30901"/>
                    <a:pt x="6355" y="29681"/>
                    <a:pt x="6665" y="29664"/>
                  </a:cubicBezTo>
                  <a:cubicBezTo>
                    <a:pt x="6974" y="29647"/>
                    <a:pt x="6527" y="29544"/>
                    <a:pt x="6665" y="29441"/>
                  </a:cubicBezTo>
                  <a:cubicBezTo>
                    <a:pt x="6802" y="29337"/>
                    <a:pt x="6665" y="29664"/>
                    <a:pt x="6785" y="29733"/>
                  </a:cubicBezTo>
                  <a:cubicBezTo>
                    <a:pt x="6933" y="29741"/>
                    <a:pt x="7051" y="29859"/>
                    <a:pt x="7060" y="30007"/>
                  </a:cubicBezTo>
                  <a:cubicBezTo>
                    <a:pt x="6939" y="30213"/>
                    <a:pt x="7352" y="30145"/>
                    <a:pt x="7472" y="30196"/>
                  </a:cubicBezTo>
                  <a:cubicBezTo>
                    <a:pt x="7558" y="30660"/>
                    <a:pt x="8090" y="30042"/>
                    <a:pt x="8262" y="30402"/>
                  </a:cubicBezTo>
                  <a:cubicBezTo>
                    <a:pt x="8004" y="30402"/>
                    <a:pt x="8073" y="30402"/>
                    <a:pt x="8262" y="30643"/>
                  </a:cubicBezTo>
                  <a:cubicBezTo>
                    <a:pt x="8262" y="30471"/>
                    <a:pt x="8863" y="31107"/>
                    <a:pt x="8434" y="31107"/>
                  </a:cubicBezTo>
                  <a:cubicBezTo>
                    <a:pt x="8885" y="31152"/>
                    <a:pt x="9220" y="31547"/>
                    <a:pt x="9189" y="32000"/>
                  </a:cubicBezTo>
                  <a:cubicBezTo>
                    <a:pt x="9189" y="31673"/>
                    <a:pt x="9550" y="32154"/>
                    <a:pt x="9550" y="32309"/>
                  </a:cubicBezTo>
                  <a:cubicBezTo>
                    <a:pt x="9464" y="32103"/>
                    <a:pt x="10461" y="32309"/>
                    <a:pt x="10220" y="32532"/>
                  </a:cubicBezTo>
                  <a:cubicBezTo>
                    <a:pt x="10443" y="32361"/>
                    <a:pt x="10976" y="33030"/>
                    <a:pt x="10856" y="33151"/>
                  </a:cubicBezTo>
                  <a:cubicBezTo>
                    <a:pt x="11010" y="32893"/>
                    <a:pt x="11130" y="33735"/>
                    <a:pt x="11302" y="33924"/>
                  </a:cubicBezTo>
                  <a:cubicBezTo>
                    <a:pt x="11474" y="34113"/>
                    <a:pt x="10976" y="34559"/>
                    <a:pt x="11045" y="34868"/>
                  </a:cubicBezTo>
                  <a:cubicBezTo>
                    <a:pt x="11045" y="34611"/>
                    <a:pt x="11233" y="34628"/>
                    <a:pt x="11148" y="34868"/>
                  </a:cubicBezTo>
                  <a:cubicBezTo>
                    <a:pt x="11148" y="34868"/>
                    <a:pt x="11268" y="34559"/>
                    <a:pt x="11337" y="34731"/>
                  </a:cubicBezTo>
                  <a:cubicBezTo>
                    <a:pt x="11405" y="34903"/>
                    <a:pt x="11337" y="34731"/>
                    <a:pt x="11337" y="34731"/>
                  </a:cubicBezTo>
                  <a:cubicBezTo>
                    <a:pt x="11337" y="34216"/>
                    <a:pt x="12401" y="35143"/>
                    <a:pt x="11337" y="35092"/>
                  </a:cubicBezTo>
                  <a:cubicBezTo>
                    <a:pt x="11749" y="35092"/>
                    <a:pt x="11543" y="35315"/>
                    <a:pt x="11680" y="35624"/>
                  </a:cubicBezTo>
                  <a:cubicBezTo>
                    <a:pt x="11543" y="35074"/>
                    <a:pt x="12075" y="34576"/>
                    <a:pt x="12419" y="35074"/>
                  </a:cubicBezTo>
                  <a:cubicBezTo>
                    <a:pt x="12419" y="35074"/>
                    <a:pt x="12608" y="35177"/>
                    <a:pt x="12642" y="35263"/>
                  </a:cubicBezTo>
                  <a:cubicBezTo>
                    <a:pt x="12676" y="35349"/>
                    <a:pt x="12986" y="35366"/>
                    <a:pt x="12882" y="35469"/>
                  </a:cubicBezTo>
                  <a:cubicBezTo>
                    <a:pt x="12779" y="35573"/>
                    <a:pt x="12882" y="35727"/>
                    <a:pt x="12968" y="35830"/>
                  </a:cubicBezTo>
                  <a:cubicBezTo>
                    <a:pt x="13054" y="35933"/>
                    <a:pt x="12968" y="35487"/>
                    <a:pt x="12968" y="35710"/>
                  </a:cubicBezTo>
                  <a:cubicBezTo>
                    <a:pt x="12968" y="35555"/>
                    <a:pt x="13106" y="35607"/>
                    <a:pt x="12968" y="35504"/>
                  </a:cubicBezTo>
                  <a:cubicBezTo>
                    <a:pt x="12831" y="35401"/>
                    <a:pt x="13363" y="35761"/>
                    <a:pt x="13363" y="35641"/>
                  </a:cubicBezTo>
                  <a:cubicBezTo>
                    <a:pt x="13363" y="35521"/>
                    <a:pt x="13363" y="35641"/>
                    <a:pt x="13466" y="35744"/>
                  </a:cubicBezTo>
                  <a:cubicBezTo>
                    <a:pt x="13569" y="35847"/>
                    <a:pt x="13466" y="35744"/>
                    <a:pt x="13466" y="35744"/>
                  </a:cubicBezTo>
                  <a:lnTo>
                    <a:pt x="13466" y="35744"/>
                  </a:lnTo>
                  <a:lnTo>
                    <a:pt x="13466" y="35744"/>
                  </a:lnTo>
                  <a:cubicBezTo>
                    <a:pt x="14841" y="36157"/>
                    <a:pt x="16438" y="37462"/>
                    <a:pt x="14926" y="38922"/>
                  </a:cubicBezTo>
                  <a:cubicBezTo>
                    <a:pt x="14926" y="38836"/>
                    <a:pt x="14926" y="38682"/>
                    <a:pt x="14926" y="38819"/>
                  </a:cubicBezTo>
                  <a:cubicBezTo>
                    <a:pt x="14926" y="38956"/>
                    <a:pt x="14823" y="38819"/>
                    <a:pt x="14806" y="38819"/>
                  </a:cubicBezTo>
                  <a:lnTo>
                    <a:pt x="14806" y="38819"/>
                  </a:lnTo>
                  <a:cubicBezTo>
                    <a:pt x="15133" y="39386"/>
                    <a:pt x="15717" y="41619"/>
                    <a:pt x="14806" y="41447"/>
                  </a:cubicBezTo>
                  <a:cubicBezTo>
                    <a:pt x="14806" y="41447"/>
                    <a:pt x="14514" y="41447"/>
                    <a:pt x="14806" y="41447"/>
                  </a:cubicBezTo>
                  <a:cubicBezTo>
                    <a:pt x="15098" y="41447"/>
                    <a:pt x="14652" y="41447"/>
                    <a:pt x="14600" y="41447"/>
                  </a:cubicBezTo>
                  <a:cubicBezTo>
                    <a:pt x="14549" y="41447"/>
                    <a:pt x="14600" y="41533"/>
                    <a:pt x="14600" y="41687"/>
                  </a:cubicBezTo>
                  <a:cubicBezTo>
                    <a:pt x="14360" y="41498"/>
                    <a:pt x="14257" y="41997"/>
                    <a:pt x="14154" y="41962"/>
                  </a:cubicBezTo>
                  <a:cubicBezTo>
                    <a:pt x="14050" y="41928"/>
                    <a:pt x="14154" y="41962"/>
                    <a:pt x="14154" y="41962"/>
                  </a:cubicBezTo>
                  <a:cubicBezTo>
                    <a:pt x="14154" y="41962"/>
                    <a:pt x="14291" y="42048"/>
                    <a:pt x="14154" y="42048"/>
                  </a:cubicBezTo>
                  <a:cubicBezTo>
                    <a:pt x="14016" y="42048"/>
                    <a:pt x="14154" y="42048"/>
                    <a:pt x="14154" y="42048"/>
                  </a:cubicBezTo>
                  <a:cubicBezTo>
                    <a:pt x="14154" y="42048"/>
                    <a:pt x="14446" y="42426"/>
                    <a:pt x="14411" y="42529"/>
                  </a:cubicBezTo>
                  <a:cubicBezTo>
                    <a:pt x="14377" y="42632"/>
                    <a:pt x="14411" y="43697"/>
                    <a:pt x="14411" y="43336"/>
                  </a:cubicBezTo>
                  <a:cubicBezTo>
                    <a:pt x="14411" y="43336"/>
                    <a:pt x="14411" y="43336"/>
                    <a:pt x="14411" y="43250"/>
                  </a:cubicBezTo>
                  <a:cubicBezTo>
                    <a:pt x="14411" y="43165"/>
                    <a:pt x="14411" y="43113"/>
                    <a:pt x="14411" y="43113"/>
                  </a:cubicBezTo>
                  <a:cubicBezTo>
                    <a:pt x="14338" y="43042"/>
                    <a:pt x="14257" y="42979"/>
                    <a:pt x="14171" y="42924"/>
                  </a:cubicBezTo>
                  <a:cubicBezTo>
                    <a:pt x="14231" y="42979"/>
                    <a:pt x="14283" y="43043"/>
                    <a:pt x="14325" y="43113"/>
                  </a:cubicBezTo>
                  <a:cubicBezTo>
                    <a:pt x="14325" y="43113"/>
                    <a:pt x="14446" y="43354"/>
                    <a:pt x="14325" y="43250"/>
                  </a:cubicBezTo>
                  <a:cubicBezTo>
                    <a:pt x="14858" y="44041"/>
                    <a:pt x="14325" y="44264"/>
                    <a:pt x="13844" y="43817"/>
                  </a:cubicBezTo>
                  <a:lnTo>
                    <a:pt x="14549" y="44418"/>
                  </a:lnTo>
                  <a:lnTo>
                    <a:pt x="14549" y="44418"/>
                  </a:lnTo>
                  <a:cubicBezTo>
                    <a:pt x="14637" y="44494"/>
                    <a:pt x="14707" y="44587"/>
                    <a:pt x="14755" y="44693"/>
                  </a:cubicBezTo>
                  <a:lnTo>
                    <a:pt x="14755" y="44693"/>
                  </a:lnTo>
                  <a:cubicBezTo>
                    <a:pt x="14755" y="44693"/>
                    <a:pt x="14944" y="44951"/>
                    <a:pt x="14755" y="44882"/>
                  </a:cubicBezTo>
                  <a:cubicBezTo>
                    <a:pt x="14566" y="44814"/>
                    <a:pt x="14394" y="44882"/>
                    <a:pt x="14291" y="44882"/>
                  </a:cubicBezTo>
                  <a:cubicBezTo>
                    <a:pt x="14188" y="44882"/>
                    <a:pt x="14480" y="45037"/>
                    <a:pt x="14566" y="45123"/>
                  </a:cubicBezTo>
                  <a:lnTo>
                    <a:pt x="14566" y="45123"/>
                  </a:lnTo>
                  <a:cubicBezTo>
                    <a:pt x="14909" y="45466"/>
                    <a:pt x="14995" y="45569"/>
                    <a:pt x="14463" y="45294"/>
                  </a:cubicBezTo>
                  <a:cubicBezTo>
                    <a:pt x="14621" y="45462"/>
                    <a:pt x="14807" y="45602"/>
                    <a:pt x="15012" y="45707"/>
                  </a:cubicBezTo>
                  <a:cubicBezTo>
                    <a:pt x="15012" y="45707"/>
                    <a:pt x="15012" y="45707"/>
                    <a:pt x="15012" y="45707"/>
                  </a:cubicBezTo>
                  <a:lnTo>
                    <a:pt x="15012" y="45707"/>
                  </a:lnTo>
                  <a:cubicBezTo>
                    <a:pt x="15304" y="45930"/>
                    <a:pt x="15133" y="45947"/>
                    <a:pt x="15717" y="46359"/>
                  </a:cubicBezTo>
                  <a:lnTo>
                    <a:pt x="15717" y="46359"/>
                  </a:lnTo>
                  <a:lnTo>
                    <a:pt x="15717" y="46359"/>
                  </a:lnTo>
                  <a:lnTo>
                    <a:pt x="15717" y="46359"/>
                  </a:lnTo>
                  <a:cubicBezTo>
                    <a:pt x="15991" y="46669"/>
                    <a:pt x="16438" y="46737"/>
                    <a:pt x="16730" y="47012"/>
                  </a:cubicBezTo>
                  <a:lnTo>
                    <a:pt x="16730" y="47012"/>
                  </a:lnTo>
                  <a:lnTo>
                    <a:pt x="16730" y="47012"/>
                  </a:lnTo>
                  <a:lnTo>
                    <a:pt x="16730" y="47012"/>
                  </a:lnTo>
                  <a:lnTo>
                    <a:pt x="16885" y="47132"/>
                  </a:lnTo>
                  <a:lnTo>
                    <a:pt x="16885" y="47132"/>
                  </a:lnTo>
                  <a:lnTo>
                    <a:pt x="17091" y="47270"/>
                  </a:lnTo>
                  <a:cubicBezTo>
                    <a:pt x="17091" y="47270"/>
                    <a:pt x="17091" y="47270"/>
                    <a:pt x="16988" y="47270"/>
                  </a:cubicBezTo>
                  <a:cubicBezTo>
                    <a:pt x="17278" y="47454"/>
                    <a:pt x="17582" y="47614"/>
                    <a:pt x="17898" y="47751"/>
                  </a:cubicBezTo>
                  <a:lnTo>
                    <a:pt x="17898" y="47751"/>
                  </a:lnTo>
                  <a:cubicBezTo>
                    <a:pt x="17795" y="47751"/>
                    <a:pt x="17898" y="47751"/>
                    <a:pt x="17898" y="47751"/>
                  </a:cubicBezTo>
                  <a:lnTo>
                    <a:pt x="17898" y="47751"/>
                  </a:lnTo>
                  <a:cubicBezTo>
                    <a:pt x="18059" y="47847"/>
                    <a:pt x="18225" y="47933"/>
                    <a:pt x="18396" y="48008"/>
                  </a:cubicBezTo>
                  <a:lnTo>
                    <a:pt x="18173" y="48008"/>
                  </a:lnTo>
                  <a:close/>
                  <a:moveTo>
                    <a:pt x="20560" y="10117"/>
                  </a:moveTo>
                  <a:cubicBezTo>
                    <a:pt x="20286" y="10409"/>
                    <a:pt x="20560" y="10014"/>
                    <a:pt x="20560" y="9980"/>
                  </a:cubicBezTo>
                  <a:cubicBezTo>
                    <a:pt x="20560" y="9945"/>
                    <a:pt x="20423" y="10134"/>
                    <a:pt x="20286" y="10323"/>
                  </a:cubicBezTo>
                  <a:cubicBezTo>
                    <a:pt x="19822" y="10083"/>
                    <a:pt x="19581" y="10976"/>
                    <a:pt x="19289" y="10907"/>
                  </a:cubicBezTo>
                  <a:cubicBezTo>
                    <a:pt x="19530" y="11165"/>
                    <a:pt x="19100" y="10907"/>
                    <a:pt x="19152" y="11165"/>
                  </a:cubicBezTo>
                  <a:cubicBezTo>
                    <a:pt x="19014" y="10959"/>
                    <a:pt x="19152" y="11165"/>
                    <a:pt x="19152" y="11165"/>
                  </a:cubicBezTo>
                  <a:cubicBezTo>
                    <a:pt x="19152" y="10907"/>
                    <a:pt x="19152" y="11457"/>
                    <a:pt x="18997" y="11165"/>
                  </a:cubicBezTo>
                  <a:cubicBezTo>
                    <a:pt x="18688" y="11165"/>
                    <a:pt x="18997" y="11577"/>
                    <a:pt x="18585" y="11577"/>
                  </a:cubicBezTo>
                  <a:cubicBezTo>
                    <a:pt x="18585" y="11577"/>
                    <a:pt x="18327" y="12024"/>
                    <a:pt x="18259" y="11903"/>
                  </a:cubicBezTo>
                  <a:cubicBezTo>
                    <a:pt x="18190" y="11783"/>
                    <a:pt x="17846" y="12453"/>
                    <a:pt x="18001" y="12109"/>
                  </a:cubicBezTo>
                  <a:cubicBezTo>
                    <a:pt x="17537" y="12401"/>
                    <a:pt x="18104" y="11938"/>
                    <a:pt x="17743" y="12006"/>
                  </a:cubicBezTo>
                  <a:cubicBezTo>
                    <a:pt x="18173" y="11680"/>
                    <a:pt x="18070" y="11749"/>
                    <a:pt x="17503" y="11783"/>
                  </a:cubicBezTo>
                  <a:cubicBezTo>
                    <a:pt x="17588" y="11313"/>
                    <a:pt x="17763" y="10864"/>
                    <a:pt x="18018" y="10461"/>
                  </a:cubicBezTo>
                  <a:cubicBezTo>
                    <a:pt x="18018" y="10220"/>
                    <a:pt x="18224" y="10461"/>
                    <a:pt x="18448" y="10134"/>
                  </a:cubicBezTo>
                  <a:cubicBezTo>
                    <a:pt x="17984" y="10306"/>
                    <a:pt x="17984" y="10134"/>
                    <a:pt x="18448" y="9739"/>
                  </a:cubicBezTo>
                  <a:cubicBezTo>
                    <a:pt x="18345" y="9739"/>
                    <a:pt x="18207" y="9739"/>
                    <a:pt x="18345" y="9739"/>
                  </a:cubicBezTo>
                  <a:cubicBezTo>
                    <a:pt x="18482" y="9739"/>
                    <a:pt x="18345" y="9636"/>
                    <a:pt x="18963" y="9344"/>
                  </a:cubicBezTo>
                  <a:cubicBezTo>
                    <a:pt x="17709" y="9808"/>
                    <a:pt x="19392" y="8966"/>
                    <a:pt x="18774" y="9104"/>
                  </a:cubicBezTo>
                  <a:cubicBezTo>
                    <a:pt x="19272" y="8657"/>
                    <a:pt x="19152" y="9293"/>
                    <a:pt x="19324" y="9104"/>
                  </a:cubicBezTo>
                  <a:cubicBezTo>
                    <a:pt x="18997" y="9104"/>
                    <a:pt x="19667" y="8863"/>
                    <a:pt x="19324" y="8966"/>
                  </a:cubicBezTo>
                  <a:cubicBezTo>
                    <a:pt x="19444" y="8846"/>
                    <a:pt x="19169" y="8966"/>
                    <a:pt x="18946" y="8966"/>
                  </a:cubicBezTo>
                  <a:cubicBezTo>
                    <a:pt x="19427" y="8537"/>
                    <a:pt x="19238" y="9086"/>
                    <a:pt x="19598" y="8674"/>
                  </a:cubicBezTo>
                  <a:cubicBezTo>
                    <a:pt x="19289" y="8846"/>
                    <a:pt x="19341" y="8554"/>
                    <a:pt x="19598" y="8674"/>
                  </a:cubicBezTo>
                  <a:cubicBezTo>
                    <a:pt x="19808" y="8533"/>
                    <a:pt x="20004" y="8372"/>
                    <a:pt x="20182" y="8193"/>
                  </a:cubicBezTo>
                  <a:cubicBezTo>
                    <a:pt x="19994" y="8193"/>
                    <a:pt x="20182" y="7266"/>
                    <a:pt x="20354" y="7953"/>
                  </a:cubicBezTo>
                  <a:cubicBezTo>
                    <a:pt x="20354" y="7953"/>
                    <a:pt x="20509" y="7712"/>
                    <a:pt x="20560" y="7764"/>
                  </a:cubicBezTo>
                  <a:cubicBezTo>
                    <a:pt x="20612" y="7815"/>
                    <a:pt x="21144" y="6991"/>
                    <a:pt x="20681" y="7386"/>
                  </a:cubicBezTo>
                  <a:cubicBezTo>
                    <a:pt x="20217" y="7781"/>
                    <a:pt x="21162" y="6922"/>
                    <a:pt x="21746" y="6338"/>
                  </a:cubicBezTo>
                  <a:cubicBezTo>
                    <a:pt x="23154" y="5256"/>
                    <a:pt x="21746" y="5497"/>
                    <a:pt x="22914" y="4981"/>
                  </a:cubicBezTo>
                  <a:cubicBezTo>
                    <a:pt x="23085" y="4981"/>
                    <a:pt x="23206" y="5067"/>
                    <a:pt x="23326" y="4844"/>
                  </a:cubicBezTo>
                  <a:cubicBezTo>
                    <a:pt x="26332" y="3556"/>
                    <a:pt x="25576" y="4260"/>
                    <a:pt x="26761" y="3693"/>
                  </a:cubicBezTo>
                  <a:cubicBezTo>
                    <a:pt x="26418" y="3882"/>
                    <a:pt x="26761" y="3693"/>
                    <a:pt x="26881" y="3693"/>
                  </a:cubicBezTo>
                  <a:cubicBezTo>
                    <a:pt x="26503" y="3951"/>
                    <a:pt x="26710" y="3693"/>
                    <a:pt x="26607" y="3951"/>
                  </a:cubicBezTo>
                  <a:cubicBezTo>
                    <a:pt x="26761" y="4140"/>
                    <a:pt x="25765" y="4243"/>
                    <a:pt x="26211" y="4208"/>
                  </a:cubicBezTo>
                  <a:cubicBezTo>
                    <a:pt x="26658" y="4174"/>
                    <a:pt x="26057" y="4346"/>
                    <a:pt x="26211" y="4329"/>
                  </a:cubicBezTo>
                  <a:cubicBezTo>
                    <a:pt x="26555" y="4054"/>
                    <a:pt x="26211" y="4483"/>
                    <a:pt x="26074" y="4500"/>
                  </a:cubicBezTo>
                  <a:cubicBezTo>
                    <a:pt x="25284" y="5119"/>
                    <a:pt x="27036" y="3744"/>
                    <a:pt x="26383" y="4621"/>
                  </a:cubicBezTo>
                  <a:cubicBezTo>
                    <a:pt x="26108" y="4844"/>
                    <a:pt x="25816" y="4861"/>
                    <a:pt x="26057" y="4947"/>
                  </a:cubicBezTo>
                  <a:cubicBezTo>
                    <a:pt x="25672" y="5283"/>
                    <a:pt x="25406" y="5735"/>
                    <a:pt x="25301" y="6235"/>
                  </a:cubicBezTo>
                  <a:cubicBezTo>
                    <a:pt x="25198" y="5874"/>
                    <a:pt x="24751" y="6424"/>
                    <a:pt x="25112" y="6373"/>
                  </a:cubicBezTo>
                  <a:cubicBezTo>
                    <a:pt x="24837" y="6596"/>
                    <a:pt x="25112" y="6373"/>
                    <a:pt x="25009" y="6596"/>
                  </a:cubicBezTo>
                  <a:cubicBezTo>
                    <a:pt x="24906" y="6819"/>
                    <a:pt x="24837" y="6596"/>
                    <a:pt x="24751" y="6596"/>
                  </a:cubicBezTo>
                  <a:cubicBezTo>
                    <a:pt x="24666" y="6596"/>
                    <a:pt x="24751" y="6957"/>
                    <a:pt x="24751" y="6768"/>
                  </a:cubicBezTo>
                  <a:cubicBezTo>
                    <a:pt x="24751" y="6871"/>
                    <a:pt x="25061" y="7128"/>
                    <a:pt x="24751" y="7180"/>
                  </a:cubicBezTo>
                  <a:cubicBezTo>
                    <a:pt x="24271" y="6750"/>
                    <a:pt x="24751" y="7575"/>
                    <a:pt x="24442" y="7489"/>
                  </a:cubicBezTo>
                  <a:cubicBezTo>
                    <a:pt x="23961" y="7729"/>
                    <a:pt x="24442" y="7060"/>
                    <a:pt x="24133" y="7489"/>
                  </a:cubicBezTo>
                  <a:cubicBezTo>
                    <a:pt x="24133" y="7283"/>
                    <a:pt x="23807" y="7609"/>
                    <a:pt x="23738" y="7626"/>
                  </a:cubicBezTo>
                  <a:cubicBezTo>
                    <a:pt x="24150" y="7626"/>
                    <a:pt x="23738" y="7764"/>
                    <a:pt x="23738" y="7781"/>
                  </a:cubicBezTo>
                  <a:cubicBezTo>
                    <a:pt x="24236" y="7781"/>
                    <a:pt x="23738" y="7918"/>
                    <a:pt x="23824" y="7987"/>
                  </a:cubicBezTo>
                  <a:cubicBezTo>
                    <a:pt x="24442" y="8090"/>
                    <a:pt x="23515" y="9705"/>
                    <a:pt x="23583" y="8262"/>
                  </a:cubicBezTo>
                  <a:cubicBezTo>
                    <a:pt x="23034" y="7901"/>
                    <a:pt x="23978" y="8657"/>
                    <a:pt x="23137" y="8520"/>
                  </a:cubicBezTo>
                  <a:cubicBezTo>
                    <a:pt x="23291" y="8640"/>
                    <a:pt x="22673" y="8777"/>
                    <a:pt x="22931" y="8726"/>
                  </a:cubicBezTo>
                  <a:cubicBezTo>
                    <a:pt x="23188" y="8674"/>
                    <a:pt x="23326" y="8915"/>
                    <a:pt x="22931" y="8846"/>
                  </a:cubicBezTo>
                  <a:cubicBezTo>
                    <a:pt x="22536" y="8777"/>
                    <a:pt x="24082" y="8846"/>
                    <a:pt x="23446" y="9121"/>
                  </a:cubicBezTo>
                  <a:cubicBezTo>
                    <a:pt x="23446" y="9121"/>
                    <a:pt x="23171" y="9327"/>
                    <a:pt x="23137" y="9275"/>
                  </a:cubicBezTo>
                  <a:cubicBezTo>
                    <a:pt x="23103" y="9224"/>
                    <a:pt x="21866" y="9859"/>
                    <a:pt x="21952" y="9396"/>
                  </a:cubicBezTo>
                  <a:cubicBezTo>
                    <a:pt x="22038" y="8932"/>
                    <a:pt x="21952" y="9636"/>
                    <a:pt x="21831" y="9653"/>
                  </a:cubicBezTo>
                  <a:cubicBezTo>
                    <a:pt x="21385" y="9688"/>
                    <a:pt x="20612" y="10529"/>
                    <a:pt x="20560" y="10117"/>
                  </a:cubicBezTo>
                  <a:close/>
                  <a:moveTo>
                    <a:pt x="23669" y="11440"/>
                  </a:moveTo>
                  <a:cubicBezTo>
                    <a:pt x="23669" y="11577"/>
                    <a:pt x="23463" y="11543"/>
                    <a:pt x="23412" y="11440"/>
                  </a:cubicBezTo>
                  <a:cubicBezTo>
                    <a:pt x="23360" y="11337"/>
                    <a:pt x="23223" y="11440"/>
                    <a:pt x="23274" y="11319"/>
                  </a:cubicBezTo>
                  <a:cubicBezTo>
                    <a:pt x="23326" y="11199"/>
                    <a:pt x="23188" y="11319"/>
                    <a:pt x="23274" y="11319"/>
                  </a:cubicBezTo>
                  <a:cubicBezTo>
                    <a:pt x="23173" y="11345"/>
                    <a:pt x="23067" y="11345"/>
                    <a:pt x="22965" y="11319"/>
                  </a:cubicBezTo>
                  <a:cubicBezTo>
                    <a:pt x="22965" y="11319"/>
                    <a:pt x="22965" y="11319"/>
                    <a:pt x="22965" y="11319"/>
                  </a:cubicBezTo>
                  <a:cubicBezTo>
                    <a:pt x="22965" y="11319"/>
                    <a:pt x="22965" y="11319"/>
                    <a:pt x="22965" y="11233"/>
                  </a:cubicBezTo>
                  <a:cubicBezTo>
                    <a:pt x="22965" y="11148"/>
                    <a:pt x="22965" y="11233"/>
                    <a:pt x="22965" y="11233"/>
                  </a:cubicBezTo>
                  <a:cubicBezTo>
                    <a:pt x="22965" y="11233"/>
                    <a:pt x="23120" y="11096"/>
                    <a:pt x="23206" y="11148"/>
                  </a:cubicBezTo>
                  <a:cubicBezTo>
                    <a:pt x="23291" y="11199"/>
                    <a:pt x="22948" y="11251"/>
                    <a:pt x="23206" y="11027"/>
                  </a:cubicBezTo>
                  <a:cubicBezTo>
                    <a:pt x="23206" y="11113"/>
                    <a:pt x="23051" y="11027"/>
                    <a:pt x="23206" y="10941"/>
                  </a:cubicBezTo>
                  <a:cubicBezTo>
                    <a:pt x="23360" y="10856"/>
                    <a:pt x="22948" y="10941"/>
                    <a:pt x="22948" y="10821"/>
                  </a:cubicBezTo>
                  <a:cubicBezTo>
                    <a:pt x="22948" y="10701"/>
                    <a:pt x="23206" y="10735"/>
                    <a:pt x="23223" y="10821"/>
                  </a:cubicBezTo>
                  <a:cubicBezTo>
                    <a:pt x="23240" y="10907"/>
                    <a:pt x="23395" y="10821"/>
                    <a:pt x="23412" y="10718"/>
                  </a:cubicBezTo>
                  <a:cubicBezTo>
                    <a:pt x="23429" y="10615"/>
                    <a:pt x="23291" y="10718"/>
                    <a:pt x="23412" y="10718"/>
                  </a:cubicBezTo>
                  <a:cubicBezTo>
                    <a:pt x="23532" y="10718"/>
                    <a:pt x="23291" y="10718"/>
                    <a:pt x="23412" y="10632"/>
                  </a:cubicBezTo>
                  <a:cubicBezTo>
                    <a:pt x="23532" y="10546"/>
                    <a:pt x="23412" y="10632"/>
                    <a:pt x="23412" y="10632"/>
                  </a:cubicBezTo>
                  <a:cubicBezTo>
                    <a:pt x="23412" y="10632"/>
                    <a:pt x="23412" y="10718"/>
                    <a:pt x="23412" y="10632"/>
                  </a:cubicBezTo>
                  <a:cubicBezTo>
                    <a:pt x="23412" y="10546"/>
                    <a:pt x="23412" y="10632"/>
                    <a:pt x="23412" y="10632"/>
                  </a:cubicBezTo>
                  <a:cubicBezTo>
                    <a:pt x="23223" y="10873"/>
                    <a:pt x="23120" y="10478"/>
                    <a:pt x="23291" y="10632"/>
                  </a:cubicBezTo>
                  <a:cubicBezTo>
                    <a:pt x="23463" y="10787"/>
                    <a:pt x="23291" y="10478"/>
                    <a:pt x="23291" y="10632"/>
                  </a:cubicBezTo>
                  <a:cubicBezTo>
                    <a:pt x="23291" y="10787"/>
                    <a:pt x="23291" y="10632"/>
                    <a:pt x="23291" y="10632"/>
                  </a:cubicBezTo>
                  <a:cubicBezTo>
                    <a:pt x="23291" y="10632"/>
                    <a:pt x="23291" y="10529"/>
                    <a:pt x="23291" y="10632"/>
                  </a:cubicBezTo>
                  <a:cubicBezTo>
                    <a:pt x="23291" y="10735"/>
                    <a:pt x="23291" y="10478"/>
                    <a:pt x="23291" y="10632"/>
                  </a:cubicBezTo>
                  <a:cubicBezTo>
                    <a:pt x="23291" y="10787"/>
                    <a:pt x="23412" y="10632"/>
                    <a:pt x="23291" y="10632"/>
                  </a:cubicBezTo>
                  <a:cubicBezTo>
                    <a:pt x="23171" y="10632"/>
                    <a:pt x="23395" y="10632"/>
                    <a:pt x="23291" y="10632"/>
                  </a:cubicBezTo>
                  <a:cubicBezTo>
                    <a:pt x="23188" y="10632"/>
                    <a:pt x="23120" y="10478"/>
                    <a:pt x="23291" y="10478"/>
                  </a:cubicBezTo>
                  <a:cubicBezTo>
                    <a:pt x="22999" y="10375"/>
                    <a:pt x="23395" y="10375"/>
                    <a:pt x="23291" y="10581"/>
                  </a:cubicBezTo>
                  <a:cubicBezTo>
                    <a:pt x="23291" y="10581"/>
                    <a:pt x="23291" y="10581"/>
                    <a:pt x="23291" y="10581"/>
                  </a:cubicBezTo>
                  <a:cubicBezTo>
                    <a:pt x="23291" y="10581"/>
                    <a:pt x="23291" y="10701"/>
                    <a:pt x="23291" y="10581"/>
                  </a:cubicBezTo>
                  <a:cubicBezTo>
                    <a:pt x="23302" y="10608"/>
                    <a:pt x="23302" y="10639"/>
                    <a:pt x="23291" y="10667"/>
                  </a:cubicBezTo>
                  <a:cubicBezTo>
                    <a:pt x="23291" y="10667"/>
                    <a:pt x="23291" y="10753"/>
                    <a:pt x="23291" y="10787"/>
                  </a:cubicBezTo>
                  <a:cubicBezTo>
                    <a:pt x="23291" y="10821"/>
                    <a:pt x="23291" y="10787"/>
                    <a:pt x="23291" y="10873"/>
                  </a:cubicBezTo>
                  <a:cubicBezTo>
                    <a:pt x="23311" y="10799"/>
                    <a:pt x="23361" y="10737"/>
                    <a:pt x="23429" y="10701"/>
                  </a:cubicBezTo>
                  <a:cubicBezTo>
                    <a:pt x="23429" y="10907"/>
                    <a:pt x="23429" y="10478"/>
                    <a:pt x="23601" y="10461"/>
                  </a:cubicBezTo>
                  <a:cubicBezTo>
                    <a:pt x="23772" y="10443"/>
                    <a:pt x="23601" y="10581"/>
                    <a:pt x="23601" y="10598"/>
                  </a:cubicBezTo>
                  <a:cubicBezTo>
                    <a:pt x="23601" y="10615"/>
                    <a:pt x="23687" y="10461"/>
                    <a:pt x="23790" y="10478"/>
                  </a:cubicBezTo>
                  <a:cubicBezTo>
                    <a:pt x="23832" y="10576"/>
                    <a:pt x="23832" y="10688"/>
                    <a:pt x="23790" y="10787"/>
                  </a:cubicBezTo>
                  <a:cubicBezTo>
                    <a:pt x="23893" y="10701"/>
                    <a:pt x="23790" y="10461"/>
                    <a:pt x="23961" y="10512"/>
                  </a:cubicBezTo>
                  <a:cubicBezTo>
                    <a:pt x="24133" y="10564"/>
                    <a:pt x="24116" y="10375"/>
                    <a:pt x="24099" y="10512"/>
                  </a:cubicBezTo>
                  <a:cubicBezTo>
                    <a:pt x="24082" y="10649"/>
                    <a:pt x="24356" y="10220"/>
                    <a:pt x="24322" y="10512"/>
                  </a:cubicBezTo>
                  <a:cubicBezTo>
                    <a:pt x="24288" y="10804"/>
                    <a:pt x="24442" y="10357"/>
                    <a:pt x="24528" y="10512"/>
                  </a:cubicBezTo>
                  <a:cubicBezTo>
                    <a:pt x="24614" y="10667"/>
                    <a:pt x="24356" y="10667"/>
                    <a:pt x="24528" y="10632"/>
                  </a:cubicBezTo>
                  <a:cubicBezTo>
                    <a:pt x="24700" y="10598"/>
                    <a:pt x="24425" y="10632"/>
                    <a:pt x="24528" y="10804"/>
                  </a:cubicBezTo>
                  <a:cubicBezTo>
                    <a:pt x="24631" y="10976"/>
                    <a:pt x="24528" y="10804"/>
                    <a:pt x="24528" y="10804"/>
                  </a:cubicBezTo>
                  <a:cubicBezTo>
                    <a:pt x="24751" y="10804"/>
                    <a:pt x="24614" y="10804"/>
                    <a:pt x="24528" y="10924"/>
                  </a:cubicBezTo>
                  <a:cubicBezTo>
                    <a:pt x="24442" y="11045"/>
                    <a:pt x="24528" y="11079"/>
                    <a:pt x="24528" y="11148"/>
                  </a:cubicBezTo>
                  <a:cubicBezTo>
                    <a:pt x="24374" y="10924"/>
                    <a:pt x="24528" y="11440"/>
                    <a:pt x="24288" y="11148"/>
                  </a:cubicBezTo>
                  <a:cubicBezTo>
                    <a:pt x="24288" y="11268"/>
                    <a:pt x="24064" y="11268"/>
                    <a:pt x="23978" y="11388"/>
                  </a:cubicBezTo>
                  <a:lnTo>
                    <a:pt x="23978" y="11388"/>
                  </a:lnTo>
                  <a:cubicBezTo>
                    <a:pt x="23978" y="11388"/>
                    <a:pt x="23841" y="11388"/>
                    <a:pt x="23790" y="11388"/>
                  </a:cubicBezTo>
                  <a:cubicBezTo>
                    <a:pt x="23738" y="11388"/>
                    <a:pt x="23790" y="11388"/>
                    <a:pt x="23790" y="11388"/>
                  </a:cubicBezTo>
                  <a:cubicBezTo>
                    <a:pt x="23790" y="11388"/>
                    <a:pt x="23738" y="11594"/>
                    <a:pt x="23669" y="11440"/>
                  </a:cubicBezTo>
                  <a:close/>
                  <a:moveTo>
                    <a:pt x="38184" y="41533"/>
                  </a:moveTo>
                  <a:cubicBezTo>
                    <a:pt x="38063" y="41224"/>
                    <a:pt x="38579" y="40880"/>
                    <a:pt x="38802" y="40640"/>
                  </a:cubicBezTo>
                  <a:cubicBezTo>
                    <a:pt x="39025" y="40399"/>
                    <a:pt x="39025" y="39729"/>
                    <a:pt x="39540" y="39523"/>
                  </a:cubicBezTo>
                  <a:lnTo>
                    <a:pt x="39540" y="39523"/>
                  </a:lnTo>
                  <a:cubicBezTo>
                    <a:pt x="39540" y="39523"/>
                    <a:pt x="39540" y="39523"/>
                    <a:pt x="39540" y="39523"/>
                  </a:cubicBezTo>
                  <a:cubicBezTo>
                    <a:pt x="39540" y="39523"/>
                    <a:pt x="39644" y="39523"/>
                    <a:pt x="39781" y="39386"/>
                  </a:cubicBezTo>
                  <a:cubicBezTo>
                    <a:pt x="39661" y="39678"/>
                    <a:pt x="40073" y="39077"/>
                    <a:pt x="39953" y="39386"/>
                  </a:cubicBezTo>
                  <a:cubicBezTo>
                    <a:pt x="39832" y="39695"/>
                    <a:pt x="39953" y="39386"/>
                    <a:pt x="39953" y="39386"/>
                  </a:cubicBezTo>
                  <a:cubicBezTo>
                    <a:pt x="39953" y="39386"/>
                    <a:pt x="39953" y="39386"/>
                    <a:pt x="39953" y="39248"/>
                  </a:cubicBezTo>
                  <a:cubicBezTo>
                    <a:pt x="39953" y="39111"/>
                    <a:pt x="40073" y="39248"/>
                    <a:pt x="39953" y="39248"/>
                  </a:cubicBezTo>
                  <a:lnTo>
                    <a:pt x="39953" y="39248"/>
                  </a:lnTo>
                  <a:cubicBezTo>
                    <a:pt x="39953" y="39248"/>
                    <a:pt x="39953" y="39248"/>
                    <a:pt x="39953" y="39369"/>
                  </a:cubicBezTo>
                  <a:cubicBezTo>
                    <a:pt x="39953" y="39489"/>
                    <a:pt x="40090" y="39197"/>
                    <a:pt x="40107" y="39266"/>
                  </a:cubicBezTo>
                  <a:cubicBezTo>
                    <a:pt x="40124" y="39334"/>
                    <a:pt x="40107" y="39266"/>
                    <a:pt x="40107" y="39145"/>
                  </a:cubicBezTo>
                  <a:cubicBezTo>
                    <a:pt x="40107" y="39025"/>
                    <a:pt x="40262" y="39145"/>
                    <a:pt x="40107" y="39042"/>
                  </a:cubicBezTo>
                  <a:cubicBezTo>
                    <a:pt x="39953" y="38939"/>
                    <a:pt x="40107" y="39145"/>
                    <a:pt x="40262" y="38939"/>
                  </a:cubicBezTo>
                  <a:cubicBezTo>
                    <a:pt x="40416" y="38733"/>
                    <a:pt x="40537" y="38733"/>
                    <a:pt x="40485" y="38561"/>
                  </a:cubicBezTo>
                  <a:cubicBezTo>
                    <a:pt x="40434" y="38389"/>
                    <a:pt x="40588" y="38561"/>
                    <a:pt x="40674" y="38441"/>
                  </a:cubicBezTo>
                  <a:cubicBezTo>
                    <a:pt x="40760" y="38321"/>
                    <a:pt x="40674" y="38664"/>
                    <a:pt x="40674" y="38664"/>
                  </a:cubicBezTo>
                  <a:cubicBezTo>
                    <a:pt x="41344" y="38922"/>
                    <a:pt x="37514" y="43560"/>
                    <a:pt x="38184" y="41533"/>
                  </a:cubicBezTo>
                  <a:close/>
                  <a:moveTo>
                    <a:pt x="49159" y="26589"/>
                  </a:moveTo>
                  <a:cubicBezTo>
                    <a:pt x="49159" y="26589"/>
                    <a:pt x="49159" y="26589"/>
                    <a:pt x="49159" y="26589"/>
                  </a:cubicBezTo>
                  <a:cubicBezTo>
                    <a:pt x="48810" y="27921"/>
                    <a:pt x="48552" y="29276"/>
                    <a:pt x="48386" y="30643"/>
                  </a:cubicBezTo>
                  <a:cubicBezTo>
                    <a:pt x="48386" y="30540"/>
                    <a:pt x="48215" y="30780"/>
                    <a:pt x="48215" y="30849"/>
                  </a:cubicBezTo>
                  <a:cubicBezTo>
                    <a:pt x="48026" y="31570"/>
                    <a:pt x="47579" y="26864"/>
                    <a:pt x="47613" y="26452"/>
                  </a:cubicBezTo>
                  <a:cubicBezTo>
                    <a:pt x="47459" y="26452"/>
                    <a:pt x="47613" y="26263"/>
                    <a:pt x="47613" y="26160"/>
                  </a:cubicBezTo>
                  <a:cubicBezTo>
                    <a:pt x="47613" y="26057"/>
                    <a:pt x="47528" y="26160"/>
                    <a:pt x="47528" y="26160"/>
                  </a:cubicBezTo>
                  <a:cubicBezTo>
                    <a:pt x="47528" y="26555"/>
                    <a:pt x="47373" y="27362"/>
                    <a:pt x="47098" y="26606"/>
                  </a:cubicBezTo>
                  <a:cubicBezTo>
                    <a:pt x="47098" y="26606"/>
                    <a:pt x="46909" y="26332"/>
                    <a:pt x="46995" y="26383"/>
                  </a:cubicBezTo>
                  <a:lnTo>
                    <a:pt x="46995" y="26383"/>
                  </a:lnTo>
                  <a:cubicBezTo>
                    <a:pt x="46995" y="26538"/>
                    <a:pt x="46995" y="26383"/>
                    <a:pt x="46995" y="26383"/>
                  </a:cubicBezTo>
                  <a:cubicBezTo>
                    <a:pt x="46995" y="26383"/>
                    <a:pt x="47201" y="26074"/>
                    <a:pt x="47081" y="26040"/>
                  </a:cubicBezTo>
                  <a:cubicBezTo>
                    <a:pt x="47081" y="26383"/>
                    <a:pt x="46583" y="26040"/>
                    <a:pt x="46806" y="25833"/>
                  </a:cubicBezTo>
                  <a:cubicBezTo>
                    <a:pt x="46806" y="25833"/>
                    <a:pt x="46806" y="25937"/>
                    <a:pt x="46686" y="25971"/>
                  </a:cubicBezTo>
                  <a:cubicBezTo>
                    <a:pt x="46566" y="26005"/>
                    <a:pt x="46686" y="25885"/>
                    <a:pt x="46549" y="25971"/>
                  </a:cubicBezTo>
                  <a:cubicBezTo>
                    <a:pt x="46411" y="26057"/>
                    <a:pt x="46549" y="25696"/>
                    <a:pt x="46428" y="25559"/>
                  </a:cubicBezTo>
                  <a:cubicBezTo>
                    <a:pt x="46239" y="25730"/>
                    <a:pt x="46428" y="25318"/>
                    <a:pt x="46119" y="25438"/>
                  </a:cubicBezTo>
                  <a:cubicBezTo>
                    <a:pt x="46119" y="25438"/>
                    <a:pt x="45965" y="25524"/>
                    <a:pt x="45913" y="25610"/>
                  </a:cubicBezTo>
                  <a:cubicBezTo>
                    <a:pt x="45861" y="25696"/>
                    <a:pt x="45810" y="25610"/>
                    <a:pt x="45741" y="25610"/>
                  </a:cubicBezTo>
                  <a:cubicBezTo>
                    <a:pt x="45673" y="25610"/>
                    <a:pt x="45604" y="25610"/>
                    <a:pt x="45552" y="25765"/>
                  </a:cubicBezTo>
                  <a:cubicBezTo>
                    <a:pt x="45501" y="25919"/>
                    <a:pt x="45552" y="25765"/>
                    <a:pt x="45432" y="25765"/>
                  </a:cubicBezTo>
                  <a:cubicBezTo>
                    <a:pt x="45312" y="25765"/>
                    <a:pt x="45260" y="25885"/>
                    <a:pt x="45209" y="25679"/>
                  </a:cubicBezTo>
                  <a:cubicBezTo>
                    <a:pt x="45209" y="25782"/>
                    <a:pt x="44814" y="25679"/>
                    <a:pt x="44728" y="25679"/>
                  </a:cubicBezTo>
                  <a:cubicBezTo>
                    <a:pt x="44642" y="25679"/>
                    <a:pt x="44573" y="25679"/>
                    <a:pt x="44453" y="25679"/>
                  </a:cubicBezTo>
                  <a:cubicBezTo>
                    <a:pt x="44178" y="24683"/>
                    <a:pt x="44144" y="25541"/>
                    <a:pt x="43663" y="25404"/>
                  </a:cubicBezTo>
                  <a:cubicBezTo>
                    <a:pt x="43560" y="25404"/>
                    <a:pt x="43251" y="25284"/>
                    <a:pt x="43285" y="25146"/>
                  </a:cubicBezTo>
                  <a:cubicBezTo>
                    <a:pt x="43319" y="25009"/>
                    <a:pt x="42838" y="25146"/>
                    <a:pt x="42804" y="24803"/>
                  </a:cubicBezTo>
                  <a:cubicBezTo>
                    <a:pt x="42804" y="24803"/>
                    <a:pt x="42684" y="24803"/>
                    <a:pt x="42804" y="24803"/>
                  </a:cubicBezTo>
                  <a:cubicBezTo>
                    <a:pt x="42632" y="24803"/>
                    <a:pt x="42564" y="24185"/>
                    <a:pt x="42375" y="24425"/>
                  </a:cubicBezTo>
                  <a:cubicBezTo>
                    <a:pt x="42375" y="24339"/>
                    <a:pt x="42220" y="24425"/>
                    <a:pt x="42272" y="24270"/>
                  </a:cubicBezTo>
                  <a:cubicBezTo>
                    <a:pt x="42323" y="24116"/>
                    <a:pt x="42272" y="24270"/>
                    <a:pt x="42272" y="24270"/>
                  </a:cubicBezTo>
                  <a:cubicBezTo>
                    <a:pt x="42272" y="24270"/>
                    <a:pt x="42272" y="24494"/>
                    <a:pt x="42272" y="24270"/>
                  </a:cubicBezTo>
                  <a:cubicBezTo>
                    <a:pt x="42272" y="24047"/>
                    <a:pt x="42272" y="24580"/>
                    <a:pt x="42100" y="24597"/>
                  </a:cubicBezTo>
                  <a:lnTo>
                    <a:pt x="42220" y="24597"/>
                  </a:lnTo>
                  <a:lnTo>
                    <a:pt x="42220" y="24597"/>
                  </a:lnTo>
                  <a:cubicBezTo>
                    <a:pt x="42220" y="24597"/>
                    <a:pt x="42220" y="24700"/>
                    <a:pt x="42220" y="24734"/>
                  </a:cubicBezTo>
                  <a:cubicBezTo>
                    <a:pt x="42220" y="24769"/>
                    <a:pt x="42220" y="24837"/>
                    <a:pt x="42220" y="24734"/>
                  </a:cubicBezTo>
                  <a:cubicBezTo>
                    <a:pt x="42259" y="24896"/>
                    <a:pt x="42365" y="25033"/>
                    <a:pt x="42512" y="25112"/>
                  </a:cubicBezTo>
                  <a:cubicBezTo>
                    <a:pt x="42512" y="25112"/>
                    <a:pt x="42821" y="25438"/>
                    <a:pt x="42770" y="25610"/>
                  </a:cubicBezTo>
                  <a:lnTo>
                    <a:pt x="42770" y="25610"/>
                  </a:lnTo>
                  <a:cubicBezTo>
                    <a:pt x="42993" y="25851"/>
                    <a:pt x="43027" y="26314"/>
                    <a:pt x="43045" y="25782"/>
                  </a:cubicBezTo>
                  <a:cubicBezTo>
                    <a:pt x="43045" y="25645"/>
                    <a:pt x="43045" y="25438"/>
                    <a:pt x="43165" y="25627"/>
                  </a:cubicBezTo>
                  <a:cubicBezTo>
                    <a:pt x="43133" y="25786"/>
                    <a:pt x="43133" y="25950"/>
                    <a:pt x="43165" y="26108"/>
                  </a:cubicBezTo>
                  <a:cubicBezTo>
                    <a:pt x="43165" y="26108"/>
                    <a:pt x="43165" y="26297"/>
                    <a:pt x="43165" y="26211"/>
                  </a:cubicBezTo>
                  <a:lnTo>
                    <a:pt x="43165" y="26366"/>
                  </a:lnTo>
                  <a:cubicBezTo>
                    <a:pt x="43371" y="26177"/>
                    <a:pt x="43646" y="26366"/>
                    <a:pt x="43766" y="26091"/>
                  </a:cubicBezTo>
                  <a:lnTo>
                    <a:pt x="43766" y="26091"/>
                  </a:lnTo>
                  <a:cubicBezTo>
                    <a:pt x="43766" y="25833"/>
                    <a:pt x="44024" y="25593"/>
                    <a:pt x="44058" y="25318"/>
                  </a:cubicBezTo>
                  <a:lnTo>
                    <a:pt x="44058" y="25318"/>
                  </a:lnTo>
                  <a:cubicBezTo>
                    <a:pt x="44058" y="25318"/>
                    <a:pt x="44058" y="25146"/>
                    <a:pt x="44058" y="25215"/>
                  </a:cubicBezTo>
                  <a:cubicBezTo>
                    <a:pt x="44058" y="25284"/>
                    <a:pt x="44058" y="25559"/>
                    <a:pt x="44058" y="25507"/>
                  </a:cubicBezTo>
                  <a:cubicBezTo>
                    <a:pt x="44058" y="25851"/>
                    <a:pt x="44247" y="26280"/>
                    <a:pt x="44642" y="26091"/>
                  </a:cubicBezTo>
                  <a:cubicBezTo>
                    <a:pt x="44947" y="26440"/>
                    <a:pt x="44947" y="26961"/>
                    <a:pt x="44642" y="27311"/>
                  </a:cubicBezTo>
                  <a:cubicBezTo>
                    <a:pt x="44642" y="27105"/>
                    <a:pt x="44487" y="27757"/>
                    <a:pt x="44642" y="27877"/>
                  </a:cubicBezTo>
                  <a:cubicBezTo>
                    <a:pt x="44230" y="27877"/>
                    <a:pt x="44505" y="28290"/>
                    <a:pt x="44109" y="28376"/>
                  </a:cubicBezTo>
                  <a:cubicBezTo>
                    <a:pt x="44109" y="28496"/>
                    <a:pt x="44109" y="28599"/>
                    <a:pt x="44109" y="28719"/>
                  </a:cubicBezTo>
                  <a:cubicBezTo>
                    <a:pt x="43847" y="28757"/>
                    <a:pt x="43612" y="28900"/>
                    <a:pt x="43457" y="29114"/>
                  </a:cubicBezTo>
                  <a:cubicBezTo>
                    <a:pt x="43457" y="29475"/>
                    <a:pt x="42924" y="29595"/>
                    <a:pt x="42684" y="29767"/>
                  </a:cubicBezTo>
                  <a:cubicBezTo>
                    <a:pt x="42443" y="29939"/>
                    <a:pt x="42495" y="30042"/>
                    <a:pt x="42357" y="29990"/>
                  </a:cubicBezTo>
                  <a:cubicBezTo>
                    <a:pt x="42248" y="30193"/>
                    <a:pt x="42016" y="30299"/>
                    <a:pt x="41791" y="30248"/>
                  </a:cubicBezTo>
                  <a:cubicBezTo>
                    <a:pt x="41649" y="30457"/>
                    <a:pt x="41423" y="30595"/>
                    <a:pt x="41172" y="30626"/>
                  </a:cubicBezTo>
                  <a:cubicBezTo>
                    <a:pt x="41035" y="30317"/>
                    <a:pt x="41172" y="29904"/>
                    <a:pt x="40897" y="29629"/>
                  </a:cubicBezTo>
                  <a:cubicBezTo>
                    <a:pt x="41155" y="29011"/>
                    <a:pt x="40262" y="28204"/>
                    <a:pt x="39850" y="27706"/>
                  </a:cubicBezTo>
                  <a:cubicBezTo>
                    <a:pt x="39850" y="27293"/>
                    <a:pt x="39747" y="26589"/>
                    <a:pt x="39283" y="26606"/>
                  </a:cubicBezTo>
                  <a:cubicBezTo>
                    <a:pt x="39111" y="25799"/>
                    <a:pt x="38166" y="25370"/>
                    <a:pt x="38338" y="24751"/>
                  </a:cubicBezTo>
                  <a:cubicBezTo>
                    <a:pt x="38218" y="24975"/>
                    <a:pt x="38338" y="25249"/>
                    <a:pt x="38201" y="25438"/>
                  </a:cubicBezTo>
                  <a:cubicBezTo>
                    <a:pt x="37948" y="25233"/>
                    <a:pt x="37727" y="24989"/>
                    <a:pt x="37548" y="24717"/>
                  </a:cubicBezTo>
                  <a:cubicBezTo>
                    <a:pt x="37840" y="25370"/>
                    <a:pt x="38304" y="26022"/>
                    <a:pt x="38682" y="26692"/>
                  </a:cubicBezTo>
                  <a:lnTo>
                    <a:pt x="38682" y="26692"/>
                  </a:lnTo>
                  <a:cubicBezTo>
                    <a:pt x="38718" y="26746"/>
                    <a:pt x="38765" y="26793"/>
                    <a:pt x="38819" y="26830"/>
                  </a:cubicBezTo>
                  <a:cubicBezTo>
                    <a:pt x="38819" y="26830"/>
                    <a:pt x="38716" y="26830"/>
                    <a:pt x="38699" y="26830"/>
                  </a:cubicBezTo>
                  <a:cubicBezTo>
                    <a:pt x="38699" y="27328"/>
                    <a:pt x="39231" y="27311"/>
                    <a:pt x="39317" y="27826"/>
                  </a:cubicBezTo>
                  <a:cubicBezTo>
                    <a:pt x="39180" y="27826"/>
                    <a:pt x="39420" y="28187"/>
                    <a:pt x="39317" y="28376"/>
                  </a:cubicBezTo>
                  <a:cubicBezTo>
                    <a:pt x="39214" y="28565"/>
                    <a:pt x="39644" y="28719"/>
                    <a:pt x="39712" y="28891"/>
                  </a:cubicBezTo>
                  <a:cubicBezTo>
                    <a:pt x="39781" y="29063"/>
                    <a:pt x="39884" y="29561"/>
                    <a:pt x="40021" y="29715"/>
                  </a:cubicBezTo>
                  <a:cubicBezTo>
                    <a:pt x="40159" y="29870"/>
                    <a:pt x="40142" y="30007"/>
                    <a:pt x="40021" y="29801"/>
                  </a:cubicBezTo>
                  <a:cubicBezTo>
                    <a:pt x="39901" y="29595"/>
                    <a:pt x="40021" y="30042"/>
                    <a:pt x="40193" y="29939"/>
                  </a:cubicBezTo>
                  <a:cubicBezTo>
                    <a:pt x="40571" y="29939"/>
                    <a:pt x="40708" y="30591"/>
                    <a:pt x="40932" y="30626"/>
                  </a:cubicBezTo>
                  <a:cubicBezTo>
                    <a:pt x="41155" y="30660"/>
                    <a:pt x="40932" y="30746"/>
                    <a:pt x="41035" y="30746"/>
                  </a:cubicBezTo>
                  <a:cubicBezTo>
                    <a:pt x="41037" y="30889"/>
                    <a:pt x="40935" y="31013"/>
                    <a:pt x="40794" y="31038"/>
                  </a:cubicBezTo>
                  <a:cubicBezTo>
                    <a:pt x="41035" y="31038"/>
                    <a:pt x="41086" y="31364"/>
                    <a:pt x="41327" y="31450"/>
                  </a:cubicBezTo>
                  <a:cubicBezTo>
                    <a:pt x="41782" y="31205"/>
                    <a:pt x="42267" y="31020"/>
                    <a:pt x="42770" y="30901"/>
                  </a:cubicBezTo>
                  <a:cubicBezTo>
                    <a:pt x="42857" y="30834"/>
                    <a:pt x="42933" y="30752"/>
                    <a:pt x="42993" y="30660"/>
                  </a:cubicBezTo>
                  <a:cubicBezTo>
                    <a:pt x="43165" y="30660"/>
                    <a:pt x="42993" y="31021"/>
                    <a:pt x="42993" y="31210"/>
                  </a:cubicBezTo>
                  <a:cubicBezTo>
                    <a:pt x="42993" y="31399"/>
                    <a:pt x="42993" y="31210"/>
                    <a:pt x="42993" y="31210"/>
                  </a:cubicBezTo>
                  <a:cubicBezTo>
                    <a:pt x="42684" y="33580"/>
                    <a:pt x="39163" y="34989"/>
                    <a:pt x="38922" y="37033"/>
                  </a:cubicBezTo>
                  <a:cubicBezTo>
                    <a:pt x="38922" y="37033"/>
                    <a:pt x="38716" y="37204"/>
                    <a:pt x="38802" y="37307"/>
                  </a:cubicBezTo>
                  <a:cubicBezTo>
                    <a:pt x="38888" y="37410"/>
                    <a:pt x="38596" y="37874"/>
                    <a:pt x="38802" y="38012"/>
                  </a:cubicBezTo>
                  <a:cubicBezTo>
                    <a:pt x="38630" y="38407"/>
                    <a:pt x="38493" y="38991"/>
                    <a:pt x="38355" y="39248"/>
                  </a:cubicBezTo>
                  <a:cubicBezTo>
                    <a:pt x="38218" y="39506"/>
                    <a:pt x="38149" y="39369"/>
                    <a:pt x="38355" y="39351"/>
                  </a:cubicBezTo>
                  <a:cubicBezTo>
                    <a:pt x="38063" y="39781"/>
                    <a:pt x="37514" y="39901"/>
                    <a:pt x="37119" y="40193"/>
                  </a:cubicBezTo>
                  <a:lnTo>
                    <a:pt x="37119" y="40193"/>
                  </a:lnTo>
                  <a:cubicBezTo>
                    <a:pt x="36902" y="40432"/>
                    <a:pt x="36622" y="40604"/>
                    <a:pt x="36311" y="40691"/>
                  </a:cubicBezTo>
                  <a:cubicBezTo>
                    <a:pt x="36339" y="40751"/>
                    <a:pt x="36339" y="40820"/>
                    <a:pt x="36311" y="40880"/>
                  </a:cubicBezTo>
                  <a:cubicBezTo>
                    <a:pt x="36311" y="40880"/>
                    <a:pt x="36311" y="41000"/>
                    <a:pt x="36311" y="41035"/>
                  </a:cubicBezTo>
                  <a:cubicBezTo>
                    <a:pt x="36311" y="41069"/>
                    <a:pt x="36311" y="41292"/>
                    <a:pt x="36311" y="41395"/>
                  </a:cubicBezTo>
                  <a:cubicBezTo>
                    <a:pt x="36311" y="41498"/>
                    <a:pt x="36311" y="41310"/>
                    <a:pt x="36311" y="41292"/>
                  </a:cubicBezTo>
                  <a:lnTo>
                    <a:pt x="36311" y="41292"/>
                  </a:lnTo>
                  <a:lnTo>
                    <a:pt x="36311" y="41292"/>
                  </a:lnTo>
                  <a:cubicBezTo>
                    <a:pt x="36311" y="41447"/>
                    <a:pt x="36122" y="41567"/>
                    <a:pt x="36054" y="41705"/>
                  </a:cubicBezTo>
                  <a:lnTo>
                    <a:pt x="36054" y="41705"/>
                  </a:lnTo>
                  <a:cubicBezTo>
                    <a:pt x="35865" y="42117"/>
                    <a:pt x="35126" y="41997"/>
                    <a:pt x="35006" y="42392"/>
                  </a:cubicBezTo>
                  <a:lnTo>
                    <a:pt x="35126" y="42392"/>
                  </a:lnTo>
                  <a:cubicBezTo>
                    <a:pt x="35084" y="42471"/>
                    <a:pt x="35025" y="42542"/>
                    <a:pt x="34954" y="42598"/>
                  </a:cubicBezTo>
                  <a:lnTo>
                    <a:pt x="34954" y="42598"/>
                  </a:lnTo>
                  <a:cubicBezTo>
                    <a:pt x="34162" y="43425"/>
                    <a:pt x="33158" y="44019"/>
                    <a:pt x="32051" y="44315"/>
                  </a:cubicBezTo>
                  <a:cubicBezTo>
                    <a:pt x="31588" y="44161"/>
                    <a:pt x="31124" y="44453"/>
                    <a:pt x="30660" y="44418"/>
                  </a:cubicBezTo>
                  <a:cubicBezTo>
                    <a:pt x="30660" y="44333"/>
                    <a:pt x="30660" y="44418"/>
                    <a:pt x="30660" y="44418"/>
                  </a:cubicBezTo>
                  <a:cubicBezTo>
                    <a:pt x="30660" y="44418"/>
                    <a:pt x="30557" y="44333"/>
                    <a:pt x="30660" y="44418"/>
                  </a:cubicBezTo>
                  <a:cubicBezTo>
                    <a:pt x="30763" y="44504"/>
                    <a:pt x="30798" y="44230"/>
                    <a:pt x="30660" y="44092"/>
                  </a:cubicBezTo>
                  <a:cubicBezTo>
                    <a:pt x="30987" y="43938"/>
                    <a:pt x="30660" y="43508"/>
                    <a:pt x="30660" y="43199"/>
                  </a:cubicBezTo>
                  <a:cubicBezTo>
                    <a:pt x="30128" y="42392"/>
                    <a:pt x="30437" y="41189"/>
                    <a:pt x="29836" y="40296"/>
                  </a:cubicBezTo>
                  <a:cubicBezTo>
                    <a:pt x="29836" y="39369"/>
                    <a:pt x="31210" y="38956"/>
                    <a:pt x="30591" y="38046"/>
                  </a:cubicBezTo>
                  <a:cubicBezTo>
                    <a:pt x="30866" y="37840"/>
                    <a:pt x="30591" y="37428"/>
                    <a:pt x="30471" y="37204"/>
                  </a:cubicBezTo>
                  <a:lnTo>
                    <a:pt x="30574" y="37204"/>
                  </a:lnTo>
                  <a:cubicBezTo>
                    <a:pt x="30574" y="37204"/>
                    <a:pt x="30334" y="37204"/>
                    <a:pt x="30454" y="37050"/>
                  </a:cubicBezTo>
                  <a:cubicBezTo>
                    <a:pt x="30248" y="36449"/>
                    <a:pt x="29561" y="36242"/>
                    <a:pt x="29423" y="35607"/>
                  </a:cubicBezTo>
                  <a:cubicBezTo>
                    <a:pt x="29578" y="35607"/>
                    <a:pt x="29612" y="35487"/>
                    <a:pt x="29630" y="35298"/>
                  </a:cubicBezTo>
                  <a:cubicBezTo>
                    <a:pt x="29647" y="35109"/>
                    <a:pt x="29767" y="35298"/>
                    <a:pt x="29819" y="35298"/>
                  </a:cubicBezTo>
                  <a:cubicBezTo>
                    <a:pt x="29741" y="35301"/>
                    <a:pt x="29670" y="35252"/>
                    <a:pt x="29647" y="35177"/>
                  </a:cubicBezTo>
                  <a:cubicBezTo>
                    <a:pt x="29767" y="35177"/>
                    <a:pt x="29750" y="35057"/>
                    <a:pt x="29647" y="35040"/>
                  </a:cubicBezTo>
                  <a:cubicBezTo>
                    <a:pt x="29897" y="34793"/>
                    <a:pt x="29972" y="34419"/>
                    <a:pt x="29836" y="34095"/>
                  </a:cubicBezTo>
                  <a:cubicBezTo>
                    <a:pt x="29681" y="34198"/>
                    <a:pt x="29612" y="34095"/>
                    <a:pt x="29612" y="33906"/>
                  </a:cubicBezTo>
                  <a:cubicBezTo>
                    <a:pt x="29559" y="33957"/>
                    <a:pt x="29477" y="33957"/>
                    <a:pt x="29423" y="33906"/>
                  </a:cubicBezTo>
                  <a:cubicBezTo>
                    <a:pt x="29269" y="34095"/>
                    <a:pt x="28771" y="34078"/>
                    <a:pt x="28496" y="34044"/>
                  </a:cubicBezTo>
                  <a:cubicBezTo>
                    <a:pt x="28118" y="32807"/>
                    <a:pt x="26778" y="33529"/>
                    <a:pt x="25937" y="33821"/>
                  </a:cubicBezTo>
                  <a:cubicBezTo>
                    <a:pt x="24219" y="33305"/>
                    <a:pt x="23961" y="34490"/>
                    <a:pt x="22501" y="32687"/>
                  </a:cubicBezTo>
                  <a:cubicBezTo>
                    <a:pt x="22330" y="32687"/>
                    <a:pt x="22364" y="32429"/>
                    <a:pt x="22226" y="32361"/>
                  </a:cubicBezTo>
                  <a:cubicBezTo>
                    <a:pt x="22089" y="32292"/>
                    <a:pt x="22226" y="32240"/>
                    <a:pt x="22226" y="32137"/>
                  </a:cubicBezTo>
                  <a:cubicBezTo>
                    <a:pt x="22226" y="32034"/>
                    <a:pt x="21883" y="31897"/>
                    <a:pt x="21986" y="31828"/>
                  </a:cubicBezTo>
                  <a:cubicBezTo>
                    <a:pt x="21608" y="31828"/>
                    <a:pt x="21814" y="31485"/>
                    <a:pt x="21591" y="31536"/>
                  </a:cubicBezTo>
                  <a:cubicBezTo>
                    <a:pt x="21368" y="31588"/>
                    <a:pt x="21591" y="31450"/>
                    <a:pt x="21436" y="31450"/>
                  </a:cubicBezTo>
                  <a:lnTo>
                    <a:pt x="21436" y="31450"/>
                  </a:lnTo>
                  <a:lnTo>
                    <a:pt x="21436" y="31450"/>
                  </a:lnTo>
                  <a:cubicBezTo>
                    <a:pt x="21436" y="31450"/>
                    <a:pt x="21436" y="31450"/>
                    <a:pt x="21436" y="31347"/>
                  </a:cubicBezTo>
                  <a:cubicBezTo>
                    <a:pt x="21436" y="31244"/>
                    <a:pt x="21625" y="31347"/>
                    <a:pt x="21642" y="31347"/>
                  </a:cubicBezTo>
                  <a:cubicBezTo>
                    <a:pt x="21660" y="31347"/>
                    <a:pt x="21076" y="31347"/>
                    <a:pt x="21247" y="31158"/>
                  </a:cubicBezTo>
                  <a:cubicBezTo>
                    <a:pt x="21110" y="31158"/>
                    <a:pt x="21076" y="31158"/>
                    <a:pt x="21041" y="30986"/>
                  </a:cubicBezTo>
                  <a:cubicBezTo>
                    <a:pt x="21007" y="30815"/>
                    <a:pt x="21162" y="30986"/>
                    <a:pt x="21213" y="30986"/>
                  </a:cubicBezTo>
                  <a:cubicBezTo>
                    <a:pt x="21265" y="30986"/>
                    <a:pt x="21076" y="30986"/>
                    <a:pt x="21024" y="30986"/>
                  </a:cubicBezTo>
                  <a:cubicBezTo>
                    <a:pt x="20973" y="30986"/>
                    <a:pt x="21024" y="30849"/>
                    <a:pt x="21024" y="30780"/>
                  </a:cubicBezTo>
                  <a:cubicBezTo>
                    <a:pt x="21024" y="30712"/>
                    <a:pt x="21179" y="30935"/>
                    <a:pt x="21299" y="30780"/>
                  </a:cubicBezTo>
                  <a:cubicBezTo>
                    <a:pt x="21419" y="30626"/>
                    <a:pt x="21024" y="30694"/>
                    <a:pt x="21144" y="30626"/>
                  </a:cubicBezTo>
                  <a:lnTo>
                    <a:pt x="21144" y="30626"/>
                  </a:lnTo>
                  <a:cubicBezTo>
                    <a:pt x="21144" y="30626"/>
                    <a:pt x="20990" y="30368"/>
                    <a:pt x="20921" y="30299"/>
                  </a:cubicBezTo>
                  <a:cubicBezTo>
                    <a:pt x="21365" y="29847"/>
                    <a:pt x="21523" y="29187"/>
                    <a:pt x="21333" y="28582"/>
                  </a:cubicBezTo>
                  <a:cubicBezTo>
                    <a:pt x="21471" y="28582"/>
                    <a:pt x="21333" y="28393"/>
                    <a:pt x="21436" y="28358"/>
                  </a:cubicBezTo>
                  <a:cubicBezTo>
                    <a:pt x="21539" y="28324"/>
                    <a:pt x="21265" y="28255"/>
                    <a:pt x="21247" y="28135"/>
                  </a:cubicBezTo>
                  <a:lnTo>
                    <a:pt x="21247" y="28221"/>
                  </a:lnTo>
                  <a:cubicBezTo>
                    <a:pt x="21228" y="27927"/>
                    <a:pt x="21357" y="27644"/>
                    <a:pt x="21591" y="27465"/>
                  </a:cubicBezTo>
                  <a:cubicBezTo>
                    <a:pt x="21952" y="26297"/>
                    <a:pt x="23103" y="25833"/>
                    <a:pt x="23927" y="25043"/>
                  </a:cubicBezTo>
                  <a:cubicBezTo>
                    <a:pt x="23935" y="24883"/>
                    <a:pt x="23935" y="24723"/>
                    <a:pt x="23927" y="24562"/>
                  </a:cubicBezTo>
                  <a:cubicBezTo>
                    <a:pt x="23927" y="24373"/>
                    <a:pt x="24288" y="24288"/>
                    <a:pt x="24133" y="24081"/>
                  </a:cubicBezTo>
                  <a:cubicBezTo>
                    <a:pt x="24677" y="23812"/>
                    <a:pt x="25139" y="23403"/>
                    <a:pt x="25473" y="22896"/>
                  </a:cubicBezTo>
                  <a:cubicBezTo>
                    <a:pt x="25473" y="23240"/>
                    <a:pt x="26005" y="23223"/>
                    <a:pt x="26194" y="23102"/>
                  </a:cubicBezTo>
                  <a:cubicBezTo>
                    <a:pt x="26521" y="23497"/>
                    <a:pt x="27225" y="22828"/>
                    <a:pt x="27586" y="22725"/>
                  </a:cubicBezTo>
                  <a:cubicBezTo>
                    <a:pt x="27946" y="22621"/>
                    <a:pt x="28771" y="22725"/>
                    <a:pt x="29063" y="22587"/>
                  </a:cubicBezTo>
                  <a:cubicBezTo>
                    <a:pt x="29355" y="22450"/>
                    <a:pt x="29286" y="22828"/>
                    <a:pt x="29372" y="22587"/>
                  </a:cubicBezTo>
                  <a:cubicBezTo>
                    <a:pt x="29647" y="22828"/>
                    <a:pt x="29939" y="22450"/>
                    <a:pt x="30162" y="22587"/>
                  </a:cubicBezTo>
                  <a:cubicBezTo>
                    <a:pt x="30162" y="22398"/>
                    <a:pt x="30299" y="22725"/>
                    <a:pt x="30385" y="22776"/>
                  </a:cubicBezTo>
                  <a:cubicBezTo>
                    <a:pt x="30746" y="22415"/>
                    <a:pt x="30488" y="22862"/>
                    <a:pt x="30385" y="23017"/>
                  </a:cubicBezTo>
                  <a:cubicBezTo>
                    <a:pt x="31021" y="23446"/>
                    <a:pt x="29956" y="23618"/>
                    <a:pt x="30385" y="23910"/>
                  </a:cubicBezTo>
                  <a:cubicBezTo>
                    <a:pt x="30385" y="23910"/>
                    <a:pt x="30385" y="23910"/>
                    <a:pt x="30506" y="23910"/>
                  </a:cubicBezTo>
                  <a:cubicBezTo>
                    <a:pt x="30626" y="23910"/>
                    <a:pt x="30506" y="23824"/>
                    <a:pt x="30506" y="23910"/>
                  </a:cubicBezTo>
                  <a:cubicBezTo>
                    <a:pt x="30677" y="24322"/>
                    <a:pt x="31313" y="24013"/>
                    <a:pt x="31622" y="24236"/>
                  </a:cubicBezTo>
                  <a:cubicBezTo>
                    <a:pt x="34851" y="26469"/>
                    <a:pt x="32343" y="23566"/>
                    <a:pt x="34473" y="24236"/>
                  </a:cubicBezTo>
                  <a:cubicBezTo>
                    <a:pt x="34834" y="24580"/>
                    <a:pt x="35641" y="24477"/>
                    <a:pt x="36191" y="24700"/>
                  </a:cubicBezTo>
                  <a:cubicBezTo>
                    <a:pt x="36741" y="24923"/>
                    <a:pt x="36724" y="24597"/>
                    <a:pt x="37084" y="24494"/>
                  </a:cubicBezTo>
                  <a:cubicBezTo>
                    <a:pt x="36844" y="24580"/>
                    <a:pt x="37084" y="24494"/>
                    <a:pt x="37187" y="24494"/>
                  </a:cubicBezTo>
                  <a:cubicBezTo>
                    <a:pt x="37290" y="24494"/>
                    <a:pt x="37187" y="24494"/>
                    <a:pt x="37187" y="24494"/>
                  </a:cubicBezTo>
                  <a:cubicBezTo>
                    <a:pt x="37187" y="24494"/>
                    <a:pt x="37411" y="24494"/>
                    <a:pt x="37462" y="24494"/>
                  </a:cubicBezTo>
                  <a:cubicBezTo>
                    <a:pt x="37514" y="24494"/>
                    <a:pt x="37565" y="24614"/>
                    <a:pt x="37565" y="24665"/>
                  </a:cubicBezTo>
                  <a:cubicBezTo>
                    <a:pt x="37565" y="24717"/>
                    <a:pt x="37565" y="24562"/>
                    <a:pt x="37565" y="24494"/>
                  </a:cubicBezTo>
                  <a:cubicBezTo>
                    <a:pt x="38733" y="24889"/>
                    <a:pt x="38338" y="22776"/>
                    <a:pt x="38407" y="22381"/>
                  </a:cubicBezTo>
                  <a:cubicBezTo>
                    <a:pt x="38218" y="22536"/>
                    <a:pt x="37892" y="22381"/>
                    <a:pt x="37840" y="22656"/>
                  </a:cubicBezTo>
                  <a:cubicBezTo>
                    <a:pt x="37496" y="23051"/>
                    <a:pt x="36775" y="22106"/>
                    <a:pt x="36775" y="22656"/>
                  </a:cubicBezTo>
                  <a:cubicBezTo>
                    <a:pt x="36620" y="22656"/>
                    <a:pt x="36225" y="22828"/>
                    <a:pt x="36277" y="22536"/>
                  </a:cubicBezTo>
                  <a:cubicBezTo>
                    <a:pt x="36277" y="22536"/>
                    <a:pt x="36277" y="22536"/>
                    <a:pt x="36140" y="22536"/>
                  </a:cubicBezTo>
                  <a:cubicBezTo>
                    <a:pt x="36002" y="22536"/>
                    <a:pt x="35951" y="22690"/>
                    <a:pt x="35933" y="22536"/>
                  </a:cubicBezTo>
                  <a:lnTo>
                    <a:pt x="35727" y="22536"/>
                  </a:lnTo>
                  <a:cubicBezTo>
                    <a:pt x="35727" y="22450"/>
                    <a:pt x="35951" y="22536"/>
                    <a:pt x="35951" y="22398"/>
                  </a:cubicBezTo>
                  <a:cubicBezTo>
                    <a:pt x="35951" y="22261"/>
                    <a:pt x="35556" y="22501"/>
                    <a:pt x="35762" y="22398"/>
                  </a:cubicBezTo>
                  <a:cubicBezTo>
                    <a:pt x="35521" y="22244"/>
                    <a:pt x="35762" y="22106"/>
                    <a:pt x="35401" y="22020"/>
                  </a:cubicBezTo>
                  <a:cubicBezTo>
                    <a:pt x="35040" y="21934"/>
                    <a:pt x="35401" y="21883"/>
                    <a:pt x="35401" y="21831"/>
                  </a:cubicBezTo>
                  <a:cubicBezTo>
                    <a:pt x="35401" y="21780"/>
                    <a:pt x="35401" y="21952"/>
                    <a:pt x="35573" y="21831"/>
                  </a:cubicBezTo>
                  <a:lnTo>
                    <a:pt x="35573" y="21831"/>
                  </a:lnTo>
                  <a:cubicBezTo>
                    <a:pt x="35573" y="21831"/>
                    <a:pt x="35710" y="21831"/>
                    <a:pt x="35676" y="21694"/>
                  </a:cubicBezTo>
                  <a:cubicBezTo>
                    <a:pt x="35641" y="21557"/>
                    <a:pt x="35504" y="21522"/>
                    <a:pt x="35676" y="21488"/>
                  </a:cubicBezTo>
                  <a:cubicBezTo>
                    <a:pt x="35195" y="21660"/>
                    <a:pt x="35435" y="20938"/>
                    <a:pt x="35779" y="21179"/>
                  </a:cubicBezTo>
                  <a:cubicBezTo>
                    <a:pt x="35779" y="21041"/>
                    <a:pt x="36071" y="21179"/>
                    <a:pt x="36225" y="21179"/>
                  </a:cubicBezTo>
                  <a:cubicBezTo>
                    <a:pt x="35916" y="21058"/>
                    <a:pt x="36363" y="21076"/>
                    <a:pt x="36397" y="20990"/>
                  </a:cubicBezTo>
                  <a:cubicBezTo>
                    <a:pt x="35676" y="20766"/>
                    <a:pt x="36775" y="20869"/>
                    <a:pt x="36827" y="20784"/>
                  </a:cubicBezTo>
                  <a:cubicBezTo>
                    <a:pt x="36964" y="20406"/>
                    <a:pt x="37479" y="20457"/>
                    <a:pt x="37788" y="20371"/>
                  </a:cubicBezTo>
                  <a:cubicBezTo>
                    <a:pt x="37788" y="20543"/>
                    <a:pt x="37960" y="20560"/>
                    <a:pt x="38063" y="20371"/>
                  </a:cubicBezTo>
                  <a:cubicBezTo>
                    <a:pt x="38166" y="20182"/>
                    <a:pt x="38201" y="20663"/>
                    <a:pt x="38287" y="20526"/>
                  </a:cubicBezTo>
                  <a:cubicBezTo>
                    <a:pt x="40760" y="21024"/>
                    <a:pt x="38991" y="19324"/>
                    <a:pt x="37857" y="19049"/>
                  </a:cubicBezTo>
                  <a:cubicBezTo>
                    <a:pt x="37857" y="19049"/>
                    <a:pt x="37857" y="19049"/>
                    <a:pt x="37857" y="18911"/>
                  </a:cubicBezTo>
                  <a:cubicBezTo>
                    <a:pt x="37857" y="18774"/>
                    <a:pt x="38063" y="18911"/>
                    <a:pt x="37977" y="18791"/>
                  </a:cubicBezTo>
                  <a:cubicBezTo>
                    <a:pt x="37892" y="18671"/>
                    <a:pt x="38201" y="18637"/>
                    <a:pt x="37977" y="18551"/>
                  </a:cubicBezTo>
                  <a:cubicBezTo>
                    <a:pt x="37754" y="18465"/>
                    <a:pt x="37874" y="18551"/>
                    <a:pt x="37857" y="18448"/>
                  </a:cubicBezTo>
                  <a:cubicBezTo>
                    <a:pt x="37840" y="18345"/>
                    <a:pt x="38029" y="18448"/>
                    <a:pt x="38029" y="18448"/>
                  </a:cubicBezTo>
                  <a:cubicBezTo>
                    <a:pt x="38029" y="18448"/>
                    <a:pt x="38166" y="18310"/>
                    <a:pt x="38132" y="18224"/>
                  </a:cubicBezTo>
                  <a:cubicBezTo>
                    <a:pt x="38098" y="18138"/>
                    <a:pt x="37651" y="18224"/>
                    <a:pt x="37548" y="18499"/>
                  </a:cubicBezTo>
                  <a:cubicBezTo>
                    <a:pt x="37548" y="18499"/>
                    <a:pt x="37445" y="18585"/>
                    <a:pt x="37359" y="18499"/>
                  </a:cubicBezTo>
                  <a:cubicBezTo>
                    <a:pt x="37273" y="18413"/>
                    <a:pt x="37256" y="18499"/>
                    <a:pt x="37204" y="18499"/>
                  </a:cubicBezTo>
                  <a:cubicBezTo>
                    <a:pt x="37153" y="18499"/>
                    <a:pt x="37204" y="18774"/>
                    <a:pt x="37204" y="18705"/>
                  </a:cubicBezTo>
                  <a:cubicBezTo>
                    <a:pt x="37204" y="18637"/>
                    <a:pt x="37204" y="18585"/>
                    <a:pt x="37204" y="18568"/>
                  </a:cubicBezTo>
                  <a:cubicBezTo>
                    <a:pt x="37204" y="18551"/>
                    <a:pt x="36964" y="18722"/>
                    <a:pt x="36878" y="18791"/>
                  </a:cubicBezTo>
                  <a:cubicBezTo>
                    <a:pt x="36792" y="18860"/>
                    <a:pt x="37170" y="18791"/>
                    <a:pt x="37136" y="18946"/>
                  </a:cubicBezTo>
                  <a:cubicBezTo>
                    <a:pt x="37101" y="19100"/>
                    <a:pt x="37136" y="18946"/>
                    <a:pt x="37136" y="18946"/>
                  </a:cubicBezTo>
                  <a:cubicBezTo>
                    <a:pt x="37136" y="18946"/>
                    <a:pt x="37136" y="19066"/>
                    <a:pt x="37325" y="19049"/>
                  </a:cubicBezTo>
                  <a:cubicBezTo>
                    <a:pt x="37514" y="19032"/>
                    <a:pt x="37016" y="18825"/>
                    <a:pt x="37084" y="18705"/>
                  </a:cubicBezTo>
                  <a:cubicBezTo>
                    <a:pt x="37153" y="18585"/>
                    <a:pt x="37273" y="18980"/>
                    <a:pt x="37393" y="19014"/>
                  </a:cubicBezTo>
                  <a:cubicBezTo>
                    <a:pt x="37514" y="19049"/>
                    <a:pt x="37393" y="19014"/>
                    <a:pt x="37514" y="19014"/>
                  </a:cubicBezTo>
                  <a:cubicBezTo>
                    <a:pt x="37634" y="19014"/>
                    <a:pt x="37617" y="18929"/>
                    <a:pt x="37685" y="18929"/>
                  </a:cubicBezTo>
                  <a:cubicBezTo>
                    <a:pt x="37754" y="18929"/>
                    <a:pt x="37685" y="19152"/>
                    <a:pt x="37462" y="19100"/>
                  </a:cubicBezTo>
                  <a:cubicBezTo>
                    <a:pt x="37239" y="19049"/>
                    <a:pt x="36861" y="19650"/>
                    <a:pt x="36912" y="19100"/>
                  </a:cubicBezTo>
                  <a:cubicBezTo>
                    <a:pt x="36775" y="18980"/>
                    <a:pt x="36466" y="19100"/>
                    <a:pt x="36758" y="18860"/>
                  </a:cubicBezTo>
                  <a:cubicBezTo>
                    <a:pt x="37050" y="18619"/>
                    <a:pt x="36620" y="18602"/>
                    <a:pt x="36500" y="18740"/>
                  </a:cubicBezTo>
                  <a:cubicBezTo>
                    <a:pt x="36380" y="18877"/>
                    <a:pt x="36311" y="18740"/>
                    <a:pt x="36380" y="18619"/>
                  </a:cubicBezTo>
                  <a:cubicBezTo>
                    <a:pt x="36449" y="18499"/>
                    <a:pt x="36191" y="18619"/>
                    <a:pt x="36157" y="18619"/>
                  </a:cubicBezTo>
                  <a:cubicBezTo>
                    <a:pt x="36122" y="18619"/>
                    <a:pt x="36380" y="18619"/>
                    <a:pt x="36449" y="18619"/>
                  </a:cubicBezTo>
                  <a:cubicBezTo>
                    <a:pt x="36396" y="18670"/>
                    <a:pt x="36313" y="18670"/>
                    <a:pt x="36260" y="18619"/>
                  </a:cubicBezTo>
                  <a:cubicBezTo>
                    <a:pt x="36260" y="18791"/>
                    <a:pt x="36122" y="18619"/>
                    <a:pt x="36088" y="18740"/>
                  </a:cubicBezTo>
                  <a:cubicBezTo>
                    <a:pt x="36054" y="18860"/>
                    <a:pt x="36088" y="18929"/>
                    <a:pt x="35916" y="18946"/>
                  </a:cubicBezTo>
                  <a:cubicBezTo>
                    <a:pt x="35744" y="18963"/>
                    <a:pt x="35916" y="19221"/>
                    <a:pt x="35796" y="19083"/>
                  </a:cubicBezTo>
                  <a:cubicBezTo>
                    <a:pt x="35916" y="19392"/>
                    <a:pt x="35796" y="19409"/>
                    <a:pt x="35607" y="19598"/>
                  </a:cubicBezTo>
                  <a:cubicBezTo>
                    <a:pt x="35418" y="19787"/>
                    <a:pt x="35607" y="19856"/>
                    <a:pt x="35607" y="19993"/>
                  </a:cubicBezTo>
                  <a:cubicBezTo>
                    <a:pt x="35607" y="20131"/>
                    <a:pt x="35401" y="20097"/>
                    <a:pt x="35470" y="20251"/>
                  </a:cubicBezTo>
                  <a:cubicBezTo>
                    <a:pt x="35538" y="20406"/>
                    <a:pt x="35607" y="20440"/>
                    <a:pt x="35607" y="20698"/>
                  </a:cubicBezTo>
                  <a:cubicBezTo>
                    <a:pt x="35607" y="20955"/>
                    <a:pt x="36054" y="20835"/>
                    <a:pt x="35899" y="20990"/>
                  </a:cubicBezTo>
                  <a:cubicBezTo>
                    <a:pt x="35744" y="21144"/>
                    <a:pt x="35435" y="21144"/>
                    <a:pt x="35212" y="21333"/>
                  </a:cubicBezTo>
                  <a:cubicBezTo>
                    <a:pt x="35212" y="21230"/>
                    <a:pt x="35212" y="21179"/>
                    <a:pt x="35315" y="21144"/>
                  </a:cubicBezTo>
                  <a:cubicBezTo>
                    <a:pt x="35109" y="21144"/>
                    <a:pt x="34851" y="20887"/>
                    <a:pt x="34731" y="21144"/>
                  </a:cubicBezTo>
                  <a:cubicBezTo>
                    <a:pt x="34559" y="21144"/>
                    <a:pt x="34611" y="21144"/>
                    <a:pt x="34491" y="21230"/>
                  </a:cubicBezTo>
                  <a:cubicBezTo>
                    <a:pt x="34370" y="21316"/>
                    <a:pt x="34491" y="21333"/>
                    <a:pt x="34611" y="21385"/>
                  </a:cubicBezTo>
                  <a:cubicBezTo>
                    <a:pt x="34731" y="21436"/>
                    <a:pt x="34422" y="21299"/>
                    <a:pt x="34439" y="21385"/>
                  </a:cubicBezTo>
                  <a:cubicBezTo>
                    <a:pt x="34456" y="21471"/>
                    <a:pt x="34559" y="21385"/>
                    <a:pt x="34439" y="21471"/>
                  </a:cubicBezTo>
                  <a:cubicBezTo>
                    <a:pt x="34319" y="21557"/>
                    <a:pt x="34164" y="21350"/>
                    <a:pt x="34439" y="21471"/>
                  </a:cubicBezTo>
                  <a:cubicBezTo>
                    <a:pt x="34302" y="21471"/>
                    <a:pt x="34250" y="21333"/>
                    <a:pt x="34164" y="21282"/>
                  </a:cubicBezTo>
                  <a:cubicBezTo>
                    <a:pt x="34078" y="21230"/>
                    <a:pt x="33924" y="21402"/>
                    <a:pt x="34164" y="21522"/>
                  </a:cubicBezTo>
                  <a:cubicBezTo>
                    <a:pt x="34405" y="21642"/>
                    <a:pt x="34542" y="21986"/>
                    <a:pt x="34164" y="21728"/>
                  </a:cubicBezTo>
                  <a:cubicBezTo>
                    <a:pt x="34164" y="21728"/>
                    <a:pt x="34164" y="21728"/>
                    <a:pt x="34164" y="21728"/>
                  </a:cubicBezTo>
                  <a:cubicBezTo>
                    <a:pt x="34164" y="21728"/>
                    <a:pt x="34164" y="21849"/>
                    <a:pt x="34164" y="21831"/>
                  </a:cubicBezTo>
                  <a:cubicBezTo>
                    <a:pt x="34353" y="21969"/>
                    <a:pt x="34680" y="22020"/>
                    <a:pt x="34662" y="22295"/>
                  </a:cubicBezTo>
                  <a:cubicBezTo>
                    <a:pt x="34542" y="22295"/>
                    <a:pt x="34473" y="22175"/>
                    <a:pt x="34336" y="22295"/>
                  </a:cubicBezTo>
                  <a:cubicBezTo>
                    <a:pt x="34199" y="22415"/>
                    <a:pt x="34645" y="22536"/>
                    <a:pt x="34456" y="22467"/>
                  </a:cubicBezTo>
                  <a:cubicBezTo>
                    <a:pt x="34267" y="22398"/>
                    <a:pt x="34456" y="22467"/>
                    <a:pt x="34456" y="22467"/>
                  </a:cubicBezTo>
                  <a:cubicBezTo>
                    <a:pt x="34456" y="22467"/>
                    <a:pt x="34456" y="22707"/>
                    <a:pt x="34456" y="22776"/>
                  </a:cubicBezTo>
                  <a:cubicBezTo>
                    <a:pt x="34456" y="22845"/>
                    <a:pt x="34216" y="22587"/>
                    <a:pt x="34250" y="22776"/>
                  </a:cubicBezTo>
                  <a:cubicBezTo>
                    <a:pt x="34250" y="22621"/>
                    <a:pt x="34147" y="22639"/>
                    <a:pt x="34078" y="22518"/>
                  </a:cubicBezTo>
                  <a:cubicBezTo>
                    <a:pt x="34010" y="22398"/>
                    <a:pt x="34078" y="22604"/>
                    <a:pt x="34078" y="22656"/>
                  </a:cubicBezTo>
                  <a:cubicBezTo>
                    <a:pt x="33988" y="22604"/>
                    <a:pt x="33946" y="22498"/>
                    <a:pt x="33975" y="22398"/>
                  </a:cubicBezTo>
                  <a:cubicBezTo>
                    <a:pt x="33855" y="22295"/>
                    <a:pt x="33666" y="22226"/>
                    <a:pt x="33855" y="22089"/>
                  </a:cubicBezTo>
                  <a:cubicBezTo>
                    <a:pt x="34044" y="21952"/>
                    <a:pt x="34199" y="22261"/>
                    <a:pt x="34353" y="22089"/>
                  </a:cubicBezTo>
                  <a:cubicBezTo>
                    <a:pt x="34216" y="22089"/>
                    <a:pt x="34061" y="21917"/>
                    <a:pt x="33958" y="22089"/>
                  </a:cubicBezTo>
                  <a:cubicBezTo>
                    <a:pt x="33855" y="22261"/>
                    <a:pt x="33838" y="21969"/>
                    <a:pt x="33786" y="22089"/>
                  </a:cubicBezTo>
                  <a:cubicBezTo>
                    <a:pt x="33546" y="21849"/>
                    <a:pt x="33374" y="21471"/>
                    <a:pt x="33065" y="21316"/>
                  </a:cubicBezTo>
                  <a:cubicBezTo>
                    <a:pt x="33065" y="21127"/>
                    <a:pt x="33065" y="20921"/>
                    <a:pt x="33065" y="20732"/>
                  </a:cubicBezTo>
                  <a:cubicBezTo>
                    <a:pt x="32859" y="20732"/>
                    <a:pt x="32739" y="20457"/>
                    <a:pt x="32584" y="20320"/>
                  </a:cubicBezTo>
                  <a:cubicBezTo>
                    <a:pt x="32429" y="20182"/>
                    <a:pt x="32326" y="20320"/>
                    <a:pt x="32275" y="20320"/>
                  </a:cubicBezTo>
                  <a:cubicBezTo>
                    <a:pt x="32223" y="20320"/>
                    <a:pt x="32275" y="20320"/>
                    <a:pt x="32395" y="20320"/>
                  </a:cubicBezTo>
                  <a:cubicBezTo>
                    <a:pt x="32515" y="20320"/>
                    <a:pt x="32103" y="20062"/>
                    <a:pt x="31931" y="20131"/>
                  </a:cubicBezTo>
                  <a:cubicBezTo>
                    <a:pt x="31759" y="20200"/>
                    <a:pt x="31416" y="19839"/>
                    <a:pt x="31742" y="19856"/>
                  </a:cubicBezTo>
                  <a:cubicBezTo>
                    <a:pt x="31347" y="19616"/>
                    <a:pt x="31536" y="19135"/>
                    <a:pt x="31175" y="19633"/>
                  </a:cubicBezTo>
                  <a:cubicBezTo>
                    <a:pt x="31175" y="19530"/>
                    <a:pt x="31038" y="19409"/>
                    <a:pt x="31175" y="19306"/>
                  </a:cubicBezTo>
                  <a:cubicBezTo>
                    <a:pt x="31313" y="19203"/>
                    <a:pt x="30832" y="19306"/>
                    <a:pt x="30746" y="19427"/>
                  </a:cubicBezTo>
                  <a:cubicBezTo>
                    <a:pt x="30746" y="19942"/>
                    <a:pt x="31347" y="20268"/>
                    <a:pt x="31656" y="20681"/>
                  </a:cubicBezTo>
                  <a:cubicBezTo>
                    <a:pt x="31811" y="20681"/>
                    <a:pt x="32223" y="20681"/>
                    <a:pt x="31983" y="20887"/>
                  </a:cubicBezTo>
                  <a:cubicBezTo>
                    <a:pt x="32223" y="21024"/>
                    <a:pt x="32979" y="21161"/>
                    <a:pt x="32807" y="21539"/>
                  </a:cubicBezTo>
                  <a:cubicBezTo>
                    <a:pt x="32653" y="21539"/>
                    <a:pt x="32807" y="21282"/>
                    <a:pt x="32532" y="21333"/>
                  </a:cubicBezTo>
                  <a:cubicBezTo>
                    <a:pt x="32258" y="21385"/>
                    <a:pt x="32258" y="21539"/>
                    <a:pt x="32309" y="21625"/>
                  </a:cubicBezTo>
                  <a:cubicBezTo>
                    <a:pt x="32670" y="21728"/>
                    <a:pt x="32309" y="21934"/>
                    <a:pt x="32309" y="22141"/>
                  </a:cubicBezTo>
                  <a:cubicBezTo>
                    <a:pt x="32309" y="22347"/>
                    <a:pt x="31845" y="22415"/>
                    <a:pt x="32086" y="22141"/>
                  </a:cubicBezTo>
                  <a:cubicBezTo>
                    <a:pt x="32197" y="21856"/>
                    <a:pt x="32069" y="21534"/>
                    <a:pt x="31794" y="21402"/>
                  </a:cubicBezTo>
                  <a:cubicBezTo>
                    <a:pt x="31639" y="21402"/>
                    <a:pt x="31794" y="21282"/>
                    <a:pt x="31656" y="21230"/>
                  </a:cubicBezTo>
                  <a:cubicBezTo>
                    <a:pt x="31518" y="21226"/>
                    <a:pt x="31393" y="21147"/>
                    <a:pt x="31330" y="21024"/>
                  </a:cubicBezTo>
                  <a:cubicBezTo>
                    <a:pt x="30317" y="21024"/>
                    <a:pt x="30145" y="18980"/>
                    <a:pt x="29080" y="20217"/>
                  </a:cubicBezTo>
                  <a:cubicBezTo>
                    <a:pt x="29080" y="20423"/>
                    <a:pt x="28736" y="20217"/>
                    <a:pt x="28633" y="20114"/>
                  </a:cubicBezTo>
                  <a:cubicBezTo>
                    <a:pt x="27568" y="19993"/>
                    <a:pt x="28633" y="20921"/>
                    <a:pt x="27448" y="21093"/>
                  </a:cubicBezTo>
                  <a:cubicBezTo>
                    <a:pt x="27534" y="21093"/>
                    <a:pt x="27448" y="21265"/>
                    <a:pt x="27448" y="21213"/>
                  </a:cubicBezTo>
                  <a:cubicBezTo>
                    <a:pt x="26744" y="21763"/>
                    <a:pt x="27448" y="21728"/>
                    <a:pt x="27191" y="22003"/>
                  </a:cubicBezTo>
                  <a:cubicBezTo>
                    <a:pt x="26950" y="22003"/>
                    <a:pt x="27070" y="22450"/>
                    <a:pt x="26847" y="22398"/>
                  </a:cubicBezTo>
                  <a:cubicBezTo>
                    <a:pt x="26418" y="22862"/>
                    <a:pt x="25919" y="22398"/>
                    <a:pt x="25421" y="22896"/>
                  </a:cubicBezTo>
                  <a:cubicBezTo>
                    <a:pt x="25095" y="22896"/>
                    <a:pt x="25147" y="22192"/>
                    <a:pt x="24700" y="22501"/>
                  </a:cubicBezTo>
                  <a:cubicBezTo>
                    <a:pt x="24700" y="22501"/>
                    <a:pt x="24494" y="22364"/>
                    <a:pt x="24408" y="22501"/>
                  </a:cubicBezTo>
                  <a:cubicBezTo>
                    <a:pt x="24426" y="22310"/>
                    <a:pt x="24460" y="22120"/>
                    <a:pt x="24511" y="21934"/>
                  </a:cubicBezTo>
                  <a:cubicBezTo>
                    <a:pt x="24185" y="21934"/>
                    <a:pt x="24511" y="21934"/>
                    <a:pt x="24511" y="21763"/>
                  </a:cubicBezTo>
                  <a:cubicBezTo>
                    <a:pt x="24099" y="22020"/>
                    <a:pt x="24614" y="21299"/>
                    <a:pt x="24631" y="21144"/>
                  </a:cubicBezTo>
                  <a:cubicBezTo>
                    <a:pt x="24648" y="20990"/>
                    <a:pt x="24631" y="20595"/>
                    <a:pt x="24734" y="20457"/>
                  </a:cubicBezTo>
                  <a:lnTo>
                    <a:pt x="24734" y="20457"/>
                  </a:lnTo>
                  <a:cubicBezTo>
                    <a:pt x="24734" y="20457"/>
                    <a:pt x="24734" y="20457"/>
                    <a:pt x="24734" y="20337"/>
                  </a:cubicBezTo>
                  <a:cubicBezTo>
                    <a:pt x="24734" y="20217"/>
                    <a:pt x="24734" y="20337"/>
                    <a:pt x="24734" y="20234"/>
                  </a:cubicBezTo>
                  <a:cubicBezTo>
                    <a:pt x="24734" y="20131"/>
                    <a:pt x="24940" y="20097"/>
                    <a:pt x="25026" y="20045"/>
                  </a:cubicBezTo>
                  <a:cubicBezTo>
                    <a:pt x="25112" y="19993"/>
                    <a:pt x="25404" y="20045"/>
                    <a:pt x="25490" y="20045"/>
                  </a:cubicBezTo>
                  <a:cubicBezTo>
                    <a:pt x="25851" y="20045"/>
                    <a:pt x="26246" y="20217"/>
                    <a:pt x="26607" y="20131"/>
                  </a:cubicBezTo>
                  <a:cubicBezTo>
                    <a:pt x="27242" y="20629"/>
                    <a:pt x="26847" y="18911"/>
                    <a:pt x="27276" y="19564"/>
                  </a:cubicBezTo>
                  <a:cubicBezTo>
                    <a:pt x="27276" y="19461"/>
                    <a:pt x="27173" y="19306"/>
                    <a:pt x="27053" y="19289"/>
                  </a:cubicBezTo>
                  <a:cubicBezTo>
                    <a:pt x="27225" y="19066"/>
                    <a:pt x="26899" y="19014"/>
                    <a:pt x="26813" y="18860"/>
                  </a:cubicBezTo>
                  <a:cubicBezTo>
                    <a:pt x="26727" y="18705"/>
                    <a:pt x="26813" y="18619"/>
                    <a:pt x="26950" y="18722"/>
                  </a:cubicBezTo>
                  <a:cubicBezTo>
                    <a:pt x="26847" y="18568"/>
                    <a:pt x="26727" y="18825"/>
                    <a:pt x="26727" y="18551"/>
                  </a:cubicBezTo>
                  <a:cubicBezTo>
                    <a:pt x="26607" y="18551"/>
                    <a:pt x="26400" y="18345"/>
                    <a:pt x="26229" y="18465"/>
                  </a:cubicBezTo>
                  <a:cubicBezTo>
                    <a:pt x="26057" y="18585"/>
                    <a:pt x="26229" y="18465"/>
                    <a:pt x="26229" y="18345"/>
                  </a:cubicBezTo>
                  <a:cubicBezTo>
                    <a:pt x="26229" y="18224"/>
                    <a:pt x="26332" y="18190"/>
                    <a:pt x="26229" y="18345"/>
                  </a:cubicBezTo>
                  <a:cubicBezTo>
                    <a:pt x="26126" y="18499"/>
                    <a:pt x="26229" y="18345"/>
                    <a:pt x="26229" y="18345"/>
                  </a:cubicBezTo>
                  <a:cubicBezTo>
                    <a:pt x="25851" y="18224"/>
                    <a:pt x="26435" y="18207"/>
                    <a:pt x="26555" y="18121"/>
                  </a:cubicBezTo>
                  <a:cubicBezTo>
                    <a:pt x="26692" y="18293"/>
                    <a:pt x="26795" y="18121"/>
                    <a:pt x="27019" y="18241"/>
                  </a:cubicBezTo>
                  <a:cubicBezTo>
                    <a:pt x="26989" y="18096"/>
                    <a:pt x="26949" y="17952"/>
                    <a:pt x="26899" y="17812"/>
                  </a:cubicBezTo>
                  <a:cubicBezTo>
                    <a:pt x="26899" y="17812"/>
                    <a:pt x="27053" y="17812"/>
                    <a:pt x="27105" y="17812"/>
                  </a:cubicBezTo>
                  <a:cubicBezTo>
                    <a:pt x="27156" y="17812"/>
                    <a:pt x="27397" y="18001"/>
                    <a:pt x="27500" y="17812"/>
                  </a:cubicBezTo>
                  <a:cubicBezTo>
                    <a:pt x="27259" y="17623"/>
                    <a:pt x="27775" y="17709"/>
                    <a:pt x="27775" y="17606"/>
                  </a:cubicBezTo>
                  <a:cubicBezTo>
                    <a:pt x="27775" y="17503"/>
                    <a:pt x="27860" y="17383"/>
                    <a:pt x="27895" y="17280"/>
                  </a:cubicBezTo>
                  <a:cubicBezTo>
                    <a:pt x="27929" y="17177"/>
                    <a:pt x="28204" y="16988"/>
                    <a:pt x="28444" y="17125"/>
                  </a:cubicBezTo>
                  <a:cubicBezTo>
                    <a:pt x="28273" y="17125"/>
                    <a:pt x="28221" y="16919"/>
                    <a:pt x="28444" y="17125"/>
                  </a:cubicBezTo>
                  <a:cubicBezTo>
                    <a:pt x="28668" y="17331"/>
                    <a:pt x="28324" y="17005"/>
                    <a:pt x="28547" y="17022"/>
                  </a:cubicBezTo>
                  <a:cubicBezTo>
                    <a:pt x="28187" y="16764"/>
                    <a:pt x="28925" y="16112"/>
                    <a:pt x="29286" y="16438"/>
                  </a:cubicBezTo>
                  <a:cubicBezTo>
                    <a:pt x="29028" y="16249"/>
                    <a:pt x="29389" y="16112"/>
                    <a:pt x="29458" y="16438"/>
                  </a:cubicBezTo>
                  <a:cubicBezTo>
                    <a:pt x="29458" y="16197"/>
                    <a:pt x="29458" y="16438"/>
                    <a:pt x="29595" y="16438"/>
                  </a:cubicBezTo>
                  <a:cubicBezTo>
                    <a:pt x="29441" y="16026"/>
                    <a:pt x="29750" y="16232"/>
                    <a:pt x="29956" y="16301"/>
                  </a:cubicBezTo>
                  <a:cubicBezTo>
                    <a:pt x="29389" y="16043"/>
                    <a:pt x="29544" y="15493"/>
                    <a:pt x="29389" y="15115"/>
                  </a:cubicBezTo>
                  <a:cubicBezTo>
                    <a:pt x="29630" y="15115"/>
                    <a:pt x="29527" y="14961"/>
                    <a:pt x="29664" y="15115"/>
                  </a:cubicBezTo>
                  <a:cubicBezTo>
                    <a:pt x="29664" y="14634"/>
                    <a:pt x="29836" y="15115"/>
                    <a:pt x="30025" y="15115"/>
                  </a:cubicBezTo>
                  <a:cubicBezTo>
                    <a:pt x="30025" y="15373"/>
                    <a:pt x="29527" y="15528"/>
                    <a:pt x="29922" y="16009"/>
                  </a:cubicBezTo>
                  <a:cubicBezTo>
                    <a:pt x="29922" y="15888"/>
                    <a:pt x="30334" y="16009"/>
                    <a:pt x="30059" y="16094"/>
                  </a:cubicBezTo>
                  <a:cubicBezTo>
                    <a:pt x="30591" y="16094"/>
                    <a:pt x="30385" y="15768"/>
                    <a:pt x="30883" y="16094"/>
                  </a:cubicBezTo>
                  <a:cubicBezTo>
                    <a:pt x="31124" y="16472"/>
                    <a:pt x="31656" y="15356"/>
                    <a:pt x="32103" y="15768"/>
                  </a:cubicBezTo>
                  <a:cubicBezTo>
                    <a:pt x="31828" y="15768"/>
                    <a:pt x="32103" y="16043"/>
                    <a:pt x="32326" y="15768"/>
                  </a:cubicBezTo>
                  <a:cubicBezTo>
                    <a:pt x="32299" y="15829"/>
                    <a:pt x="32250" y="15878"/>
                    <a:pt x="32189" y="15905"/>
                  </a:cubicBezTo>
                  <a:cubicBezTo>
                    <a:pt x="34078" y="15820"/>
                    <a:pt x="31656" y="15270"/>
                    <a:pt x="32704" y="14497"/>
                  </a:cubicBezTo>
                  <a:cubicBezTo>
                    <a:pt x="33082" y="15081"/>
                    <a:pt x="33202" y="14686"/>
                    <a:pt x="33031" y="14222"/>
                  </a:cubicBezTo>
                  <a:cubicBezTo>
                    <a:pt x="33031" y="14428"/>
                    <a:pt x="32739" y="14222"/>
                    <a:pt x="32842" y="14068"/>
                  </a:cubicBezTo>
                  <a:cubicBezTo>
                    <a:pt x="32532" y="14068"/>
                    <a:pt x="32842" y="13758"/>
                    <a:pt x="32842" y="13690"/>
                  </a:cubicBezTo>
                  <a:cubicBezTo>
                    <a:pt x="32842" y="13621"/>
                    <a:pt x="33082" y="13690"/>
                    <a:pt x="32979" y="13690"/>
                  </a:cubicBezTo>
                  <a:lnTo>
                    <a:pt x="33615" y="13793"/>
                  </a:lnTo>
                  <a:cubicBezTo>
                    <a:pt x="33426" y="13501"/>
                    <a:pt x="33615" y="13690"/>
                    <a:pt x="33752" y="13466"/>
                  </a:cubicBezTo>
                  <a:cubicBezTo>
                    <a:pt x="33889" y="13243"/>
                    <a:pt x="33305" y="13363"/>
                    <a:pt x="33546" y="13192"/>
                  </a:cubicBezTo>
                  <a:cubicBezTo>
                    <a:pt x="33546" y="13192"/>
                    <a:pt x="33426" y="13295"/>
                    <a:pt x="33408" y="13192"/>
                  </a:cubicBezTo>
                  <a:cubicBezTo>
                    <a:pt x="33408" y="13346"/>
                    <a:pt x="33099" y="13363"/>
                    <a:pt x="33031" y="13312"/>
                  </a:cubicBezTo>
                  <a:cubicBezTo>
                    <a:pt x="32962" y="13260"/>
                    <a:pt x="33031" y="13312"/>
                    <a:pt x="33031" y="13312"/>
                  </a:cubicBezTo>
                  <a:cubicBezTo>
                    <a:pt x="33031" y="13312"/>
                    <a:pt x="33031" y="13552"/>
                    <a:pt x="33031" y="13312"/>
                  </a:cubicBezTo>
                  <a:cubicBezTo>
                    <a:pt x="33031" y="13449"/>
                    <a:pt x="32601" y="13466"/>
                    <a:pt x="32567" y="13621"/>
                  </a:cubicBezTo>
                  <a:cubicBezTo>
                    <a:pt x="32567" y="13312"/>
                    <a:pt x="32412" y="13415"/>
                    <a:pt x="32172" y="13260"/>
                  </a:cubicBezTo>
                  <a:cubicBezTo>
                    <a:pt x="31931" y="13106"/>
                    <a:pt x="31691" y="12144"/>
                    <a:pt x="31914" y="12058"/>
                  </a:cubicBezTo>
                  <a:cubicBezTo>
                    <a:pt x="32137" y="11972"/>
                    <a:pt x="31914" y="11972"/>
                    <a:pt x="32017" y="12058"/>
                  </a:cubicBezTo>
                  <a:cubicBezTo>
                    <a:pt x="32120" y="12144"/>
                    <a:pt x="32017" y="11921"/>
                    <a:pt x="32017" y="11817"/>
                  </a:cubicBezTo>
                  <a:cubicBezTo>
                    <a:pt x="32017" y="11714"/>
                    <a:pt x="32240" y="11354"/>
                    <a:pt x="32309" y="11457"/>
                  </a:cubicBezTo>
                  <a:cubicBezTo>
                    <a:pt x="32103" y="11010"/>
                    <a:pt x="31708" y="11148"/>
                    <a:pt x="31502" y="11182"/>
                  </a:cubicBezTo>
                  <a:cubicBezTo>
                    <a:pt x="31622" y="11354"/>
                    <a:pt x="31502" y="11577"/>
                    <a:pt x="31656" y="11714"/>
                  </a:cubicBezTo>
                  <a:cubicBezTo>
                    <a:pt x="31532" y="12056"/>
                    <a:pt x="31318" y="12359"/>
                    <a:pt x="31038" y="12590"/>
                  </a:cubicBezTo>
                  <a:cubicBezTo>
                    <a:pt x="31158" y="12676"/>
                    <a:pt x="31038" y="12848"/>
                    <a:pt x="31175" y="12968"/>
                  </a:cubicBezTo>
                  <a:cubicBezTo>
                    <a:pt x="30883" y="13123"/>
                    <a:pt x="32189" y="13999"/>
                    <a:pt x="31382" y="13793"/>
                  </a:cubicBezTo>
                  <a:cubicBezTo>
                    <a:pt x="31382" y="13793"/>
                    <a:pt x="30901" y="13793"/>
                    <a:pt x="31210" y="13913"/>
                  </a:cubicBezTo>
                  <a:cubicBezTo>
                    <a:pt x="31519" y="14033"/>
                    <a:pt x="31811" y="14119"/>
                    <a:pt x="31485" y="14050"/>
                  </a:cubicBezTo>
                  <a:cubicBezTo>
                    <a:pt x="31485" y="14050"/>
                    <a:pt x="31485" y="14257"/>
                    <a:pt x="31364" y="14188"/>
                  </a:cubicBezTo>
                  <a:cubicBezTo>
                    <a:pt x="31244" y="14119"/>
                    <a:pt x="31467" y="14325"/>
                    <a:pt x="31364" y="14342"/>
                  </a:cubicBezTo>
                  <a:cubicBezTo>
                    <a:pt x="31485" y="14342"/>
                    <a:pt x="31519" y="14600"/>
                    <a:pt x="31364" y="14514"/>
                  </a:cubicBezTo>
                  <a:cubicBezTo>
                    <a:pt x="31502" y="14789"/>
                    <a:pt x="31519" y="15510"/>
                    <a:pt x="31090" y="15236"/>
                  </a:cubicBezTo>
                  <a:cubicBezTo>
                    <a:pt x="30815" y="16301"/>
                    <a:pt x="30059" y="14153"/>
                    <a:pt x="30162" y="14050"/>
                  </a:cubicBezTo>
                  <a:cubicBezTo>
                    <a:pt x="29990" y="13947"/>
                    <a:pt x="29939" y="13844"/>
                    <a:pt x="29939" y="13810"/>
                  </a:cubicBezTo>
                  <a:cubicBezTo>
                    <a:pt x="29958" y="13906"/>
                    <a:pt x="29958" y="14006"/>
                    <a:pt x="29939" y="14102"/>
                  </a:cubicBezTo>
                  <a:cubicBezTo>
                    <a:pt x="29939" y="14102"/>
                    <a:pt x="29939" y="14102"/>
                    <a:pt x="29733" y="13965"/>
                  </a:cubicBezTo>
                  <a:cubicBezTo>
                    <a:pt x="29733" y="14119"/>
                    <a:pt x="29733" y="14360"/>
                    <a:pt x="29595" y="14291"/>
                  </a:cubicBezTo>
                  <a:cubicBezTo>
                    <a:pt x="29733" y="14463"/>
                    <a:pt x="29286" y="14583"/>
                    <a:pt x="29183" y="14428"/>
                  </a:cubicBezTo>
                  <a:cubicBezTo>
                    <a:pt x="29080" y="14549"/>
                    <a:pt x="28651" y="14050"/>
                    <a:pt x="29183" y="14102"/>
                  </a:cubicBezTo>
                  <a:cubicBezTo>
                    <a:pt x="28960" y="14102"/>
                    <a:pt x="29183" y="13999"/>
                    <a:pt x="29011" y="13879"/>
                  </a:cubicBezTo>
                  <a:cubicBezTo>
                    <a:pt x="29011" y="14188"/>
                    <a:pt x="28771" y="13690"/>
                    <a:pt x="29011" y="13879"/>
                  </a:cubicBezTo>
                  <a:cubicBezTo>
                    <a:pt x="29252" y="14068"/>
                    <a:pt x="29011" y="13879"/>
                    <a:pt x="29166" y="13776"/>
                  </a:cubicBezTo>
                  <a:cubicBezTo>
                    <a:pt x="28960" y="13776"/>
                    <a:pt x="29166" y="13449"/>
                    <a:pt x="29166" y="13655"/>
                  </a:cubicBezTo>
                  <a:cubicBezTo>
                    <a:pt x="29118" y="13609"/>
                    <a:pt x="29118" y="13533"/>
                    <a:pt x="29164" y="13485"/>
                  </a:cubicBezTo>
                  <a:cubicBezTo>
                    <a:pt x="29165" y="13485"/>
                    <a:pt x="29165" y="13484"/>
                    <a:pt x="29166" y="13484"/>
                  </a:cubicBezTo>
                  <a:cubicBezTo>
                    <a:pt x="28943" y="13569"/>
                    <a:pt x="28822" y="13724"/>
                    <a:pt x="28943" y="13484"/>
                  </a:cubicBezTo>
                  <a:cubicBezTo>
                    <a:pt x="28788" y="13484"/>
                    <a:pt x="28736" y="13569"/>
                    <a:pt x="28943" y="13381"/>
                  </a:cubicBezTo>
                  <a:cubicBezTo>
                    <a:pt x="28599" y="13243"/>
                    <a:pt x="29544" y="13484"/>
                    <a:pt x="29355" y="13157"/>
                  </a:cubicBezTo>
                  <a:cubicBezTo>
                    <a:pt x="29355" y="13329"/>
                    <a:pt x="28582" y="13295"/>
                    <a:pt x="28994" y="13157"/>
                  </a:cubicBezTo>
                  <a:cubicBezTo>
                    <a:pt x="28651" y="13157"/>
                    <a:pt x="28994" y="13037"/>
                    <a:pt x="29183" y="13020"/>
                  </a:cubicBezTo>
                  <a:cubicBezTo>
                    <a:pt x="28822" y="13020"/>
                    <a:pt x="28754" y="12831"/>
                    <a:pt x="29046" y="12917"/>
                  </a:cubicBezTo>
                  <a:cubicBezTo>
                    <a:pt x="28960" y="12917"/>
                    <a:pt x="29046" y="12779"/>
                    <a:pt x="29183" y="12917"/>
                  </a:cubicBezTo>
                  <a:lnTo>
                    <a:pt x="29183" y="12797"/>
                  </a:lnTo>
                  <a:cubicBezTo>
                    <a:pt x="29183" y="12797"/>
                    <a:pt x="29183" y="12797"/>
                    <a:pt x="29441" y="12797"/>
                  </a:cubicBezTo>
                  <a:cubicBezTo>
                    <a:pt x="29114" y="12797"/>
                    <a:pt x="29303" y="12590"/>
                    <a:pt x="29578" y="12797"/>
                  </a:cubicBezTo>
                  <a:cubicBezTo>
                    <a:pt x="29217" y="12505"/>
                    <a:pt x="29578" y="12797"/>
                    <a:pt x="29578" y="12676"/>
                  </a:cubicBezTo>
                  <a:cubicBezTo>
                    <a:pt x="29578" y="12556"/>
                    <a:pt x="29922" y="12213"/>
                    <a:pt x="29767" y="12676"/>
                  </a:cubicBezTo>
                  <a:cubicBezTo>
                    <a:pt x="30007" y="12539"/>
                    <a:pt x="29973" y="12539"/>
                    <a:pt x="30059" y="12298"/>
                  </a:cubicBezTo>
                  <a:cubicBezTo>
                    <a:pt x="30145" y="12058"/>
                    <a:pt x="29784" y="12814"/>
                    <a:pt x="29801" y="12419"/>
                  </a:cubicBezTo>
                  <a:cubicBezTo>
                    <a:pt x="29664" y="12522"/>
                    <a:pt x="29801" y="12161"/>
                    <a:pt x="29801" y="12195"/>
                  </a:cubicBezTo>
                  <a:cubicBezTo>
                    <a:pt x="29801" y="12230"/>
                    <a:pt x="29990" y="12006"/>
                    <a:pt x="30145" y="11766"/>
                  </a:cubicBezTo>
                  <a:cubicBezTo>
                    <a:pt x="29990" y="11886"/>
                    <a:pt x="30059" y="11525"/>
                    <a:pt x="30145" y="11611"/>
                  </a:cubicBezTo>
                  <a:cubicBezTo>
                    <a:pt x="30231" y="11697"/>
                    <a:pt x="30145" y="11440"/>
                    <a:pt x="30145" y="11525"/>
                  </a:cubicBezTo>
                  <a:cubicBezTo>
                    <a:pt x="30042" y="11319"/>
                    <a:pt x="30145" y="11440"/>
                    <a:pt x="30145" y="11337"/>
                  </a:cubicBezTo>
                  <a:cubicBezTo>
                    <a:pt x="29939" y="11337"/>
                    <a:pt x="30145" y="11233"/>
                    <a:pt x="30025" y="11148"/>
                  </a:cubicBezTo>
                  <a:cubicBezTo>
                    <a:pt x="29904" y="11062"/>
                    <a:pt x="30025" y="10821"/>
                    <a:pt x="30334" y="10976"/>
                  </a:cubicBezTo>
                  <a:cubicBezTo>
                    <a:pt x="30179" y="10890"/>
                    <a:pt x="30111" y="10735"/>
                    <a:pt x="30334" y="10838"/>
                  </a:cubicBezTo>
                  <a:cubicBezTo>
                    <a:pt x="30557" y="10941"/>
                    <a:pt x="30162" y="10701"/>
                    <a:pt x="30334" y="10684"/>
                  </a:cubicBezTo>
                  <a:cubicBezTo>
                    <a:pt x="30042" y="10684"/>
                    <a:pt x="30334" y="10684"/>
                    <a:pt x="30334" y="10478"/>
                  </a:cubicBezTo>
                  <a:cubicBezTo>
                    <a:pt x="30523" y="10478"/>
                    <a:pt x="30488" y="10478"/>
                    <a:pt x="30506" y="10478"/>
                  </a:cubicBezTo>
                  <a:cubicBezTo>
                    <a:pt x="30918" y="10564"/>
                    <a:pt x="30214" y="10323"/>
                    <a:pt x="30506" y="10323"/>
                  </a:cubicBezTo>
                  <a:cubicBezTo>
                    <a:pt x="30506" y="10323"/>
                    <a:pt x="30506" y="10220"/>
                    <a:pt x="30506" y="10220"/>
                  </a:cubicBezTo>
                  <a:cubicBezTo>
                    <a:pt x="30506" y="10220"/>
                    <a:pt x="30506" y="9911"/>
                    <a:pt x="30609" y="10117"/>
                  </a:cubicBezTo>
                  <a:cubicBezTo>
                    <a:pt x="30712" y="10323"/>
                    <a:pt x="30609" y="10117"/>
                    <a:pt x="30609" y="10117"/>
                  </a:cubicBezTo>
                  <a:cubicBezTo>
                    <a:pt x="30385" y="9980"/>
                    <a:pt x="30609" y="10014"/>
                    <a:pt x="30609" y="10117"/>
                  </a:cubicBezTo>
                  <a:cubicBezTo>
                    <a:pt x="30609" y="10220"/>
                    <a:pt x="30609" y="9773"/>
                    <a:pt x="30609" y="10117"/>
                  </a:cubicBezTo>
                  <a:cubicBezTo>
                    <a:pt x="30609" y="9670"/>
                    <a:pt x="30609" y="10237"/>
                    <a:pt x="30798" y="10117"/>
                  </a:cubicBezTo>
                  <a:cubicBezTo>
                    <a:pt x="30609" y="9773"/>
                    <a:pt x="31021" y="10117"/>
                    <a:pt x="30798" y="9739"/>
                  </a:cubicBezTo>
                  <a:cubicBezTo>
                    <a:pt x="30901" y="9739"/>
                    <a:pt x="31038" y="9911"/>
                    <a:pt x="31124" y="9894"/>
                  </a:cubicBezTo>
                  <a:cubicBezTo>
                    <a:pt x="31210" y="9877"/>
                    <a:pt x="31124" y="9602"/>
                    <a:pt x="31124" y="9619"/>
                  </a:cubicBezTo>
                  <a:cubicBezTo>
                    <a:pt x="31124" y="9636"/>
                    <a:pt x="30969" y="9464"/>
                    <a:pt x="31124" y="9619"/>
                  </a:cubicBezTo>
                  <a:cubicBezTo>
                    <a:pt x="31279" y="9773"/>
                    <a:pt x="31124" y="9499"/>
                    <a:pt x="31124" y="9619"/>
                  </a:cubicBezTo>
                  <a:cubicBezTo>
                    <a:pt x="31244" y="9447"/>
                    <a:pt x="31279" y="10426"/>
                    <a:pt x="31261" y="9619"/>
                  </a:cubicBezTo>
                  <a:cubicBezTo>
                    <a:pt x="31536" y="10134"/>
                    <a:pt x="31261" y="9516"/>
                    <a:pt x="31450" y="9499"/>
                  </a:cubicBezTo>
                  <a:cubicBezTo>
                    <a:pt x="31639" y="9481"/>
                    <a:pt x="31450" y="9653"/>
                    <a:pt x="31553" y="9842"/>
                  </a:cubicBezTo>
                  <a:cubicBezTo>
                    <a:pt x="31656" y="10031"/>
                    <a:pt x="31639" y="9842"/>
                    <a:pt x="31674" y="9842"/>
                  </a:cubicBezTo>
                  <a:cubicBezTo>
                    <a:pt x="31502" y="9499"/>
                    <a:pt x="31863" y="9688"/>
                    <a:pt x="31845" y="9842"/>
                  </a:cubicBezTo>
                  <a:cubicBezTo>
                    <a:pt x="32172" y="9842"/>
                    <a:pt x="32051" y="10134"/>
                    <a:pt x="31742" y="10031"/>
                  </a:cubicBezTo>
                  <a:cubicBezTo>
                    <a:pt x="31845" y="10031"/>
                    <a:pt x="31948" y="10031"/>
                    <a:pt x="32000" y="10220"/>
                  </a:cubicBezTo>
                  <a:cubicBezTo>
                    <a:pt x="32051" y="10409"/>
                    <a:pt x="32120" y="10083"/>
                    <a:pt x="32275" y="10220"/>
                  </a:cubicBezTo>
                  <a:cubicBezTo>
                    <a:pt x="32275" y="10100"/>
                    <a:pt x="32275" y="10117"/>
                    <a:pt x="32275" y="10048"/>
                  </a:cubicBezTo>
                  <a:cubicBezTo>
                    <a:pt x="32275" y="9980"/>
                    <a:pt x="32653" y="10306"/>
                    <a:pt x="32378" y="10048"/>
                  </a:cubicBezTo>
                  <a:cubicBezTo>
                    <a:pt x="32378" y="10237"/>
                    <a:pt x="32567" y="10048"/>
                    <a:pt x="32584" y="10220"/>
                  </a:cubicBezTo>
                  <a:cubicBezTo>
                    <a:pt x="32601" y="10392"/>
                    <a:pt x="33220" y="10220"/>
                    <a:pt x="33683" y="10529"/>
                  </a:cubicBezTo>
                  <a:cubicBezTo>
                    <a:pt x="33563" y="10392"/>
                    <a:pt x="34044" y="10735"/>
                    <a:pt x="33804" y="10529"/>
                  </a:cubicBezTo>
                  <a:cubicBezTo>
                    <a:pt x="34697" y="10838"/>
                    <a:pt x="34611" y="11852"/>
                    <a:pt x="33597" y="11354"/>
                  </a:cubicBezTo>
                  <a:cubicBezTo>
                    <a:pt x="33477" y="11354"/>
                    <a:pt x="33477" y="11354"/>
                    <a:pt x="33426" y="11354"/>
                  </a:cubicBezTo>
                  <a:cubicBezTo>
                    <a:pt x="33374" y="11354"/>
                    <a:pt x="32910" y="11096"/>
                    <a:pt x="33065" y="11354"/>
                  </a:cubicBezTo>
                  <a:cubicBezTo>
                    <a:pt x="33220" y="11611"/>
                    <a:pt x="33460" y="11491"/>
                    <a:pt x="33357" y="11663"/>
                  </a:cubicBezTo>
                  <a:cubicBezTo>
                    <a:pt x="33632" y="11663"/>
                    <a:pt x="34834" y="13277"/>
                    <a:pt x="34576" y="12333"/>
                  </a:cubicBezTo>
                  <a:cubicBezTo>
                    <a:pt x="34388" y="12505"/>
                    <a:pt x="34113" y="12058"/>
                    <a:pt x="34250" y="12006"/>
                  </a:cubicBezTo>
                  <a:cubicBezTo>
                    <a:pt x="35693" y="12917"/>
                    <a:pt x="33975" y="11148"/>
                    <a:pt x="34972" y="11474"/>
                  </a:cubicBezTo>
                  <a:cubicBezTo>
                    <a:pt x="34972" y="11337"/>
                    <a:pt x="35092" y="11474"/>
                    <a:pt x="35143" y="11474"/>
                  </a:cubicBezTo>
                  <a:cubicBezTo>
                    <a:pt x="34895" y="11040"/>
                    <a:pt x="34569" y="10656"/>
                    <a:pt x="34181" y="10340"/>
                  </a:cubicBezTo>
                  <a:cubicBezTo>
                    <a:pt x="34491" y="10340"/>
                    <a:pt x="34972" y="10443"/>
                    <a:pt x="34800" y="10753"/>
                  </a:cubicBezTo>
                  <a:cubicBezTo>
                    <a:pt x="35195" y="11354"/>
                    <a:pt x="35349" y="10753"/>
                    <a:pt x="35143" y="10529"/>
                  </a:cubicBezTo>
                  <a:cubicBezTo>
                    <a:pt x="35315" y="10529"/>
                    <a:pt x="35143" y="9945"/>
                    <a:pt x="35401" y="10289"/>
                  </a:cubicBezTo>
                  <a:cubicBezTo>
                    <a:pt x="35401" y="10186"/>
                    <a:pt x="35178" y="9980"/>
                    <a:pt x="35401" y="10151"/>
                  </a:cubicBezTo>
                  <a:cubicBezTo>
                    <a:pt x="35229" y="9705"/>
                    <a:pt x="35521" y="10151"/>
                    <a:pt x="35727" y="10306"/>
                  </a:cubicBezTo>
                  <a:cubicBezTo>
                    <a:pt x="35727" y="10203"/>
                    <a:pt x="35727" y="10169"/>
                    <a:pt x="35727" y="10306"/>
                  </a:cubicBezTo>
                  <a:cubicBezTo>
                    <a:pt x="35504" y="10048"/>
                    <a:pt x="35882" y="10134"/>
                    <a:pt x="35830" y="9842"/>
                  </a:cubicBezTo>
                  <a:cubicBezTo>
                    <a:pt x="35951" y="9997"/>
                    <a:pt x="36311" y="10272"/>
                    <a:pt x="36019" y="9945"/>
                  </a:cubicBezTo>
                  <a:cubicBezTo>
                    <a:pt x="36191" y="9945"/>
                    <a:pt x="35916" y="9791"/>
                    <a:pt x="36122" y="9945"/>
                  </a:cubicBezTo>
                  <a:cubicBezTo>
                    <a:pt x="36035" y="9882"/>
                    <a:pt x="35943" y="9824"/>
                    <a:pt x="35848" y="9773"/>
                  </a:cubicBezTo>
                  <a:lnTo>
                    <a:pt x="35848" y="9773"/>
                  </a:lnTo>
                  <a:cubicBezTo>
                    <a:pt x="35057" y="9155"/>
                    <a:pt x="36586" y="9619"/>
                    <a:pt x="36981" y="9894"/>
                  </a:cubicBezTo>
                  <a:cubicBezTo>
                    <a:pt x="36792" y="9619"/>
                    <a:pt x="36517" y="9567"/>
                    <a:pt x="36260" y="9361"/>
                  </a:cubicBezTo>
                  <a:lnTo>
                    <a:pt x="36260" y="9361"/>
                  </a:lnTo>
                  <a:cubicBezTo>
                    <a:pt x="36260" y="9361"/>
                    <a:pt x="36260" y="9361"/>
                    <a:pt x="36140" y="9361"/>
                  </a:cubicBezTo>
                  <a:lnTo>
                    <a:pt x="36140" y="9361"/>
                  </a:lnTo>
                  <a:lnTo>
                    <a:pt x="35882" y="9155"/>
                  </a:lnTo>
                  <a:cubicBezTo>
                    <a:pt x="36019" y="9155"/>
                    <a:pt x="35624" y="8983"/>
                    <a:pt x="35727" y="8983"/>
                  </a:cubicBezTo>
                  <a:cubicBezTo>
                    <a:pt x="35504" y="8880"/>
                    <a:pt x="34353" y="7918"/>
                    <a:pt x="34594" y="7884"/>
                  </a:cubicBezTo>
                  <a:cubicBezTo>
                    <a:pt x="35435" y="8193"/>
                    <a:pt x="36311" y="9086"/>
                    <a:pt x="37136" y="9602"/>
                  </a:cubicBezTo>
                  <a:lnTo>
                    <a:pt x="37136" y="9602"/>
                  </a:lnTo>
                  <a:cubicBezTo>
                    <a:pt x="37389" y="9800"/>
                    <a:pt x="37614" y="10031"/>
                    <a:pt x="37806" y="10289"/>
                  </a:cubicBezTo>
                  <a:lnTo>
                    <a:pt x="37806" y="10289"/>
                  </a:lnTo>
                  <a:cubicBezTo>
                    <a:pt x="37995" y="10409"/>
                    <a:pt x="37977" y="10581"/>
                    <a:pt x="37806" y="10289"/>
                  </a:cubicBezTo>
                  <a:cubicBezTo>
                    <a:pt x="37806" y="10289"/>
                    <a:pt x="37479" y="10289"/>
                    <a:pt x="37703" y="10426"/>
                  </a:cubicBezTo>
                  <a:cubicBezTo>
                    <a:pt x="38939" y="10701"/>
                    <a:pt x="37256" y="9619"/>
                    <a:pt x="37101" y="9275"/>
                  </a:cubicBezTo>
                  <a:cubicBezTo>
                    <a:pt x="37101" y="9275"/>
                    <a:pt x="37101" y="9275"/>
                    <a:pt x="37101" y="9275"/>
                  </a:cubicBezTo>
                  <a:cubicBezTo>
                    <a:pt x="36284" y="8916"/>
                    <a:pt x="35525" y="8435"/>
                    <a:pt x="34851" y="7850"/>
                  </a:cubicBezTo>
                  <a:cubicBezTo>
                    <a:pt x="35229" y="8021"/>
                    <a:pt x="35573" y="8399"/>
                    <a:pt x="35933" y="8451"/>
                  </a:cubicBezTo>
                  <a:cubicBezTo>
                    <a:pt x="35796" y="8262"/>
                    <a:pt x="36208" y="8571"/>
                    <a:pt x="36105" y="8451"/>
                  </a:cubicBezTo>
                  <a:cubicBezTo>
                    <a:pt x="35827" y="8436"/>
                    <a:pt x="35564" y="8320"/>
                    <a:pt x="35367" y="8125"/>
                  </a:cubicBezTo>
                  <a:cubicBezTo>
                    <a:pt x="35727" y="8279"/>
                    <a:pt x="35367" y="8125"/>
                    <a:pt x="35367" y="8039"/>
                  </a:cubicBezTo>
                  <a:lnTo>
                    <a:pt x="35367" y="8039"/>
                  </a:lnTo>
                  <a:cubicBezTo>
                    <a:pt x="34886" y="7455"/>
                    <a:pt x="37084" y="8880"/>
                    <a:pt x="36363" y="8331"/>
                  </a:cubicBezTo>
                  <a:cubicBezTo>
                    <a:pt x="36637" y="8531"/>
                    <a:pt x="36938" y="8693"/>
                    <a:pt x="37256" y="8812"/>
                  </a:cubicBezTo>
                  <a:cubicBezTo>
                    <a:pt x="36947" y="8605"/>
                    <a:pt x="37256" y="8691"/>
                    <a:pt x="37428" y="8812"/>
                  </a:cubicBezTo>
                  <a:cubicBezTo>
                    <a:pt x="37325" y="8709"/>
                    <a:pt x="37033" y="8588"/>
                    <a:pt x="37101" y="8709"/>
                  </a:cubicBezTo>
                  <a:cubicBezTo>
                    <a:pt x="36569" y="8468"/>
                    <a:pt x="36019" y="8056"/>
                    <a:pt x="35384" y="7798"/>
                  </a:cubicBezTo>
                  <a:cubicBezTo>
                    <a:pt x="35212" y="7798"/>
                    <a:pt x="34405" y="7403"/>
                    <a:pt x="34525" y="7231"/>
                  </a:cubicBezTo>
                  <a:cubicBezTo>
                    <a:pt x="34284" y="6922"/>
                    <a:pt x="34697" y="7334"/>
                    <a:pt x="34851" y="7317"/>
                  </a:cubicBezTo>
                  <a:cubicBezTo>
                    <a:pt x="34628" y="7317"/>
                    <a:pt x="34491" y="7042"/>
                    <a:pt x="34267" y="7008"/>
                  </a:cubicBezTo>
                  <a:cubicBezTo>
                    <a:pt x="34044" y="6974"/>
                    <a:pt x="34061" y="7008"/>
                    <a:pt x="34027" y="6922"/>
                  </a:cubicBezTo>
                  <a:cubicBezTo>
                    <a:pt x="33992" y="6836"/>
                    <a:pt x="34130" y="6922"/>
                    <a:pt x="34027" y="6922"/>
                  </a:cubicBezTo>
                  <a:cubicBezTo>
                    <a:pt x="33924" y="6922"/>
                    <a:pt x="33838" y="6836"/>
                    <a:pt x="33872" y="6922"/>
                  </a:cubicBezTo>
                  <a:cubicBezTo>
                    <a:pt x="33907" y="7008"/>
                    <a:pt x="33683" y="6802"/>
                    <a:pt x="33872" y="6922"/>
                  </a:cubicBezTo>
                  <a:lnTo>
                    <a:pt x="33615" y="6768"/>
                  </a:lnTo>
                  <a:cubicBezTo>
                    <a:pt x="33615" y="6768"/>
                    <a:pt x="33615" y="6768"/>
                    <a:pt x="33615" y="6768"/>
                  </a:cubicBezTo>
                  <a:lnTo>
                    <a:pt x="33168" y="6458"/>
                  </a:lnTo>
                  <a:lnTo>
                    <a:pt x="33168" y="6458"/>
                  </a:lnTo>
                  <a:cubicBezTo>
                    <a:pt x="33086" y="6395"/>
                    <a:pt x="33000" y="6338"/>
                    <a:pt x="32910" y="6287"/>
                  </a:cubicBezTo>
                  <a:lnTo>
                    <a:pt x="32910" y="6287"/>
                  </a:lnTo>
                  <a:lnTo>
                    <a:pt x="32910" y="6287"/>
                  </a:lnTo>
                  <a:lnTo>
                    <a:pt x="32910" y="6287"/>
                  </a:lnTo>
                  <a:lnTo>
                    <a:pt x="32687" y="6184"/>
                  </a:lnTo>
                  <a:lnTo>
                    <a:pt x="32687" y="6184"/>
                  </a:lnTo>
                  <a:cubicBezTo>
                    <a:pt x="32687" y="6184"/>
                    <a:pt x="32515" y="6184"/>
                    <a:pt x="32687" y="6184"/>
                  </a:cubicBezTo>
                  <a:lnTo>
                    <a:pt x="32687" y="6184"/>
                  </a:lnTo>
                  <a:lnTo>
                    <a:pt x="32687" y="6184"/>
                  </a:lnTo>
                  <a:lnTo>
                    <a:pt x="32962" y="6287"/>
                  </a:lnTo>
                  <a:lnTo>
                    <a:pt x="32739" y="6184"/>
                  </a:lnTo>
                  <a:lnTo>
                    <a:pt x="32893" y="6184"/>
                  </a:lnTo>
                  <a:lnTo>
                    <a:pt x="32807" y="6184"/>
                  </a:lnTo>
                  <a:cubicBezTo>
                    <a:pt x="32762" y="6174"/>
                    <a:pt x="32715" y="6174"/>
                    <a:pt x="32670" y="6184"/>
                  </a:cubicBezTo>
                  <a:lnTo>
                    <a:pt x="32670" y="6184"/>
                  </a:lnTo>
                  <a:cubicBezTo>
                    <a:pt x="32625" y="6193"/>
                    <a:pt x="32578" y="6193"/>
                    <a:pt x="32532" y="6184"/>
                  </a:cubicBezTo>
                  <a:lnTo>
                    <a:pt x="32876" y="6304"/>
                  </a:lnTo>
                  <a:cubicBezTo>
                    <a:pt x="32750" y="6242"/>
                    <a:pt x="32618" y="6196"/>
                    <a:pt x="32481" y="6166"/>
                  </a:cubicBezTo>
                  <a:lnTo>
                    <a:pt x="32481" y="6166"/>
                  </a:lnTo>
                  <a:cubicBezTo>
                    <a:pt x="32481" y="6166"/>
                    <a:pt x="32292" y="6166"/>
                    <a:pt x="32343" y="6166"/>
                  </a:cubicBezTo>
                  <a:cubicBezTo>
                    <a:pt x="32395" y="6166"/>
                    <a:pt x="32343" y="6166"/>
                    <a:pt x="32343" y="6166"/>
                  </a:cubicBezTo>
                  <a:lnTo>
                    <a:pt x="32343" y="6166"/>
                  </a:lnTo>
                  <a:lnTo>
                    <a:pt x="32206" y="6166"/>
                  </a:lnTo>
                  <a:lnTo>
                    <a:pt x="32206" y="6166"/>
                  </a:lnTo>
                  <a:lnTo>
                    <a:pt x="31742" y="6029"/>
                  </a:lnTo>
                  <a:lnTo>
                    <a:pt x="31742" y="6029"/>
                  </a:lnTo>
                  <a:cubicBezTo>
                    <a:pt x="31571" y="6029"/>
                    <a:pt x="30763" y="5720"/>
                    <a:pt x="30952" y="5754"/>
                  </a:cubicBezTo>
                  <a:lnTo>
                    <a:pt x="30952" y="5754"/>
                  </a:lnTo>
                  <a:lnTo>
                    <a:pt x="31055" y="5754"/>
                  </a:lnTo>
                  <a:lnTo>
                    <a:pt x="31055" y="5754"/>
                  </a:lnTo>
                  <a:cubicBezTo>
                    <a:pt x="31244" y="5754"/>
                    <a:pt x="31416" y="5857"/>
                    <a:pt x="31605" y="5909"/>
                  </a:cubicBezTo>
                  <a:lnTo>
                    <a:pt x="31416" y="5909"/>
                  </a:lnTo>
                  <a:lnTo>
                    <a:pt x="31588" y="5909"/>
                  </a:lnTo>
                  <a:lnTo>
                    <a:pt x="31485" y="5909"/>
                  </a:lnTo>
                  <a:cubicBezTo>
                    <a:pt x="31588" y="5909"/>
                    <a:pt x="31364" y="5909"/>
                    <a:pt x="31485" y="5909"/>
                  </a:cubicBezTo>
                  <a:lnTo>
                    <a:pt x="31485" y="5909"/>
                  </a:lnTo>
                  <a:cubicBezTo>
                    <a:pt x="31794" y="5995"/>
                    <a:pt x="32481" y="6201"/>
                    <a:pt x="31811" y="5909"/>
                  </a:cubicBezTo>
                  <a:lnTo>
                    <a:pt x="31811" y="5909"/>
                  </a:lnTo>
                  <a:lnTo>
                    <a:pt x="31708" y="5909"/>
                  </a:lnTo>
                  <a:lnTo>
                    <a:pt x="31708" y="5909"/>
                  </a:lnTo>
                  <a:lnTo>
                    <a:pt x="31708" y="5909"/>
                  </a:lnTo>
                  <a:lnTo>
                    <a:pt x="31708" y="5909"/>
                  </a:lnTo>
                  <a:lnTo>
                    <a:pt x="31708" y="5909"/>
                  </a:lnTo>
                  <a:lnTo>
                    <a:pt x="32292" y="6046"/>
                  </a:lnTo>
                  <a:lnTo>
                    <a:pt x="32051" y="6046"/>
                  </a:lnTo>
                  <a:lnTo>
                    <a:pt x="32378" y="6046"/>
                  </a:lnTo>
                  <a:lnTo>
                    <a:pt x="32635" y="6046"/>
                  </a:lnTo>
                  <a:lnTo>
                    <a:pt x="32635" y="6046"/>
                  </a:lnTo>
                  <a:cubicBezTo>
                    <a:pt x="32412" y="6046"/>
                    <a:pt x="32635" y="6046"/>
                    <a:pt x="32773" y="6046"/>
                  </a:cubicBezTo>
                  <a:lnTo>
                    <a:pt x="32773" y="6046"/>
                  </a:lnTo>
                  <a:lnTo>
                    <a:pt x="32773" y="6046"/>
                  </a:lnTo>
                  <a:cubicBezTo>
                    <a:pt x="33198" y="6156"/>
                    <a:pt x="33612" y="6306"/>
                    <a:pt x="34010" y="6493"/>
                  </a:cubicBezTo>
                  <a:cubicBezTo>
                    <a:pt x="34010" y="6493"/>
                    <a:pt x="34010" y="6493"/>
                    <a:pt x="34010" y="6493"/>
                  </a:cubicBezTo>
                  <a:cubicBezTo>
                    <a:pt x="34010" y="6493"/>
                    <a:pt x="34456" y="6665"/>
                    <a:pt x="34645" y="6768"/>
                  </a:cubicBezTo>
                  <a:lnTo>
                    <a:pt x="34645" y="6768"/>
                  </a:lnTo>
                  <a:lnTo>
                    <a:pt x="35470" y="7163"/>
                  </a:lnTo>
                  <a:cubicBezTo>
                    <a:pt x="35212" y="7025"/>
                    <a:pt x="34954" y="6871"/>
                    <a:pt x="34662" y="6733"/>
                  </a:cubicBezTo>
                  <a:lnTo>
                    <a:pt x="34662" y="6733"/>
                  </a:lnTo>
                  <a:lnTo>
                    <a:pt x="34353" y="6596"/>
                  </a:lnTo>
                  <a:lnTo>
                    <a:pt x="34491" y="6596"/>
                  </a:lnTo>
                  <a:cubicBezTo>
                    <a:pt x="34491" y="6596"/>
                    <a:pt x="34044" y="6441"/>
                    <a:pt x="34250" y="6493"/>
                  </a:cubicBezTo>
                  <a:lnTo>
                    <a:pt x="34113" y="6493"/>
                  </a:lnTo>
                  <a:lnTo>
                    <a:pt x="34422" y="6596"/>
                  </a:lnTo>
                  <a:cubicBezTo>
                    <a:pt x="34327" y="6538"/>
                    <a:pt x="34222" y="6497"/>
                    <a:pt x="34113" y="6476"/>
                  </a:cubicBezTo>
                  <a:cubicBezTo>
                    <a:pt x="34287" y="6517"/>
                    <a:pt x="34459" y="6568"/>
                    <a:pt x="34628" y="6630"/>
                  </a:cubicBezTo>
                  <a:lnTo>
                    <a:pt x="34473" y="6630"/>
                  </a:lnTo>
                  <a:lnTo>
                    <a:pt x="34473" y="6630"/>
                  </a:lnTo>
                  <a:lnTo>
                    <a:pt x="33700" y="4827"/>
                  </a:lnTo>
                  <a:cubicBezTo>
                    <a:pt x="42679" y="7791"/>
                    <a:pt x="48892" y="15993"/>
                    <a:pt x="49314" y="25438"/>
                  </a:cubicBezTo>
                  <a:cubicBezTo>
                    <a:pt x="49301" y="25780"/>
                    <a:pt x="49255" y="26119"/>
                    <a:pt x="49177" y="26452"/>
                  </a:cubicBezTo>
                  <a:cubicBezTo>
                    <a:pt x="49245" y="26349"/>
                    <a:pt x="49159" y="26538"/>
                    <a:pt x="49159" y="26589"/>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6" name="Google Shape;16;p45"/>
            <p:cNvSpPr/>
            <p:nvPr/>
          </p:nvSpPr>
          <p:spPr>
            <a:xfrm rot="-5400000">
              <a:off x="12026199" y="6563439"/>
              <a:ext cx="13277" cy="68070"/>
            </a:xfrm>
            <a:custGeom>
              <a:avLst/>
              <a:gdLst/>
              <a:ahLst/>
              <a:cxnLst/>
              <a:rect l="l" t="t" r="r" b="b"/>
              <a:pathLst>
                <a:path w="13277" h="68070" extrusionOk="0">
                  <a:moveTo>
                    <a:pt x="13277" y="12024"/>
                  </a:moveTo>
                  <a:lnTo>
                    <a:pt x="0" y="12024"/>
                  </a:lnTo>
                  <a:lnTo>
                    <a:pt x="0" y="0"/>
                  </a:lnTo>
                  <a:lnTo>
                    <a:pt x="13277" y="0"/>
                  </a:lnTo>
                  <a:close/>
                  <a:moveTo>
                    <a:pt x="0" y="17984"/>
                  </a:moveTo>
                  <a:lnTo>
                    <a:pt x="13277" y="17984"/>
                  </a:lnTo>
                  <a:lnTo>
                    <a:pt x="13277" y="68070"/>
                  </a:lnTo>
                  <a:lnTo>
                    <a:pt x="0" y="68070"/>
                  </a:ln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7" name="Google Shape;17;p45"/>
            <p:cNvSpPr/>
            <p:nvPr/>
          </p:nvSpPr>
          <p:spPr>
            <a:xfrm rot="-5400000">
              <a:off x="12018640" y="6529825"/>
              <a:ext cx="45208" cy="51256"/>
            </a:xfrm>
            <a:custGeom>
              <a:avLst/>
              <a:gdLst/>
              <a:ahLst/>
              <a:cxnLst/>
              <a:rect l="l" t="t" r="r" b="b"/>
              <a:pathLst>
                <a:path w="45208" h="51256" extrusionOk="0">
                  <a:moveTo>
                    <a:pt x="40279" y="4038"/>
                  </a:moveTo>
                  <a:cubicBezTo>
                    <a:pt x="43565" y="6752"/>
                    <a:pt x="45209" y="11246"/>
                    <a:pt x="45209" y="17521"/>
                  </a:cubicBezTo>
                  <a:lnTo>
                    <a:pt x="45209" y="51256"/>
                  </a:lnTo>
                  <a:lnTo>
                    <a:pt x="31794" y="51256"/>
                  </a:lnTo>
                  <a:lnTo>
                    <a:pt x="31794" y="20785"/>
                  </a:lnTo>
                  <a:cubicBezTo>
                    <a:pt x="31892" y="18712"/>
                    <a:pt x="31535" y="16642"/>
                    <a:pt x="30746" y="14722"/>
                  </a:cubicBezTo>
                  <a:cubicBezTo>
                    <a:pt x="29458" y="12162"/>
                    <a:pt x="27036" y="10874"/>
                    <a:pt x="23446" y="10874"/>
                  </a:cubicBezTo>
                  <a:cubicBezTo>
                    <a:pt x="19509" y="10574"/>
                    <a:pt x="15832" y="12861"/>
                    <a:pt x="14360" y="16525"/>
                  </a:cubicBezTo>
                  <a:cubicBezTo>
                    <a:pt x="13437" y="18959"/>
                    <a:pt x="13005" y="21550"/>
                    <a:pt x="13089" y="24152"/>
                  </a:cubicBezTo>
                  <a:lnTo>
                    <a:pt x="13089" y="51256"/>
                  </a:lnTo>
                  <a:lnTo>
                    <a:pt x="0" y="51256"/>
                  </a:lnTo>
                  <a:lnTo>
                    <a:pt x="0" y="1272"/>
                  </a:lnTo>
                  <a:lnTo>
                    <a:pt x="12676" y="1272"/>
                  </a:lnTo>
                  <a:lnTo>
                    <a:pt x="12676" y="8607"/>
                  </a:lnTo>
                  <a:cubicBezTo>
                    <a:pt x="13939" y="6498"/>
                    <a:pt x="15548" y="4617"/>
                    <a:pt x="17434" y="3042"/>
                  </a:cubicBezTo>
                  <a:cubicBezTo>
                    <a:pt x="20409" y="938"/>
                    <a:pt x="23996" y="-125"/>
                    <a:pt x="27637" y="19"/>
                  </a:cubicBezTo>
                  <a:cubicBezTo>
                    <a:pt x="32194" y="-181"/>
                    <a:pt x="36674" y="1243"/>
                    <a:pt x="40279" y="4038"/>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8" name="Google Shape;18;p45"/>
            <p:cNvSpPr/>
            <p:nvPr/>
          </p:nvSpPr>
          <p:spPr>
            <a:xfrm rot="-5400000">
              <a:off x="12018195" y="6477145"/>
              <a:ext cx="28942" cy="68414"/>
            </a:xfrm>
            <a:custGeom>
              <a:avLst/>
              <a:gdLst/>
              <a:ahLst/>
              <a:cxnLst/>
              <a:rect l="l" t="t" r="r" b="b"/>
              <a:pathLst>
                <a:path w="28942" h="68414" extrusionOk="0">
                  <a:moveTo>
                    <a:pt x="25868" y="0"/>
                  </a:moveTo>
                  <a:lnTo>
                    <a:pt x="28616" y="206"/>
                  </a:lnTo>
                  <a:lnTo>
                    <a:pt x="28616" y="10941"/>
                  </a:lnTo>
                  <a:cubicBezTo>
                    <a:pt x="27390" y="10808"/>
                    <a:pt x="26157" y="10739"/>
                    <a:pt x="24923" y="10735"/>
                  </a:cubicBezTo>
                  <a:cubicBezTo>
                    <a:pt x="23616" y="10538"/>
                    <a:pt x="22290" y="10956"/>
                    <a:pt x="21333" y="11869"/>
                  </a:cubicBezTo>
                  <a:cubicBezTo>
                    <a:pt x="20704" y="12627"/>
                    <a:pt x="20358" y="13580"/>
                    <a:pt x="20354" y="14566"/>
                  </a:cubicBezTo>
                  <a:lnTo>
                    <a:pt x="20354" y="18791"/>
                  </a:lnTo>
                  <a:lnTo>
                    <a:pt x="28943" y="18791"/>
                  </a:lnTo>
                  <a:lnTo>
                    <a:pt x="28943" y="28032"/>
                  </a:lnTo>
                  <a:lnTo>
                    <a:pt x="20354" y="28032"/>
                  </a:lnTo>
                  <a:lnTo>
                    <a:pt x="20354" y="68414"/>
                  </a:lnTo>
                  <a:lnTo>
                    <a:pt x="7352" y="68414"/>
                  </a:lnTo>
                  <a:lnTo>
                    <a:pt x="7352" y="28032"/>
                  </a:lnTo>
                  <a:lnTo>
                    <a:pt x="0" y="28032"/>
                  </a:lnTo>
                  <a:lnTo>
                    <a:pt x="0" y="18791"/>
                  </a:lnTo>
                  <a:lnTo>
                    <a:pt x="7163" y="18791"/>
                  </a:lnTo>
                  <a:lnTo>
                    <a:pt x="7163" y="15579"/>
                  </a:lnTo>
                  <a:cubicBezTo>
                    <a:pt x="7163" y="10220"/>
                    <a:pt x="8067" y="6527"/>
                    <a:pt x="9877" y="4500"/>
                  </a:cubicBezTo>
                  <a:cubicBezTo>
                    <a:pt x="11783" y="1494"/>
                    <a:pt x="16352" y="0"/>
                    <a:pt x="23618" y="0"/>
                  </a:cubicBezTo>
                  <a:cubicBezTo>
                    <a:pt x="24442" y="0"/>
                    <a:pt x="25198" y="0"/>
                    <a:pt x="25868" y="0"/>
                  </a:cubicBezTo>
                  <a:close/>
                </a:path>
              </a:pathLst>
            </a:custGeom>
            <a:solidFill>
              <a:srgbClr val="00B0F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19" name="Google Shape;19;p45"/>
            <p:cNvSpPr/>
            <p:nvPr/>
          </p:nvSpPr>
          <p:spPr>
            <a:xfrm rot="-5400000">
              <a:off x="12016830" y="6161182"/>
              <a:ext cx="49036" cy="51048"/>
            </a:xfrm>
            <a:custGeom>
              <a:avLst/>
              <a:gdLst/>
              <a:ahLst/>
              <a:cxnLst/>
              <a:rect l="l" t="t" r="r" b="b"/>
              <a:pathLst>
                <a:path w="49036" h="51048" extrusionOk="0">
                  <a:moveTo>
                    <a:pt x="42949" y="43542"/>
                  </a:moveTo>
                  <a:cubicBezTo>
                    <a:pt x="38907" y="48535"/>
                    <a:pt x="32763" y="51037"/>
                    <a:pt x="24519" y="51049"/>
                  </a:cubicBezTo>
                  <a:cubicBezTo>
                    <a:pt x="16274" y="51060"/>
                    <a:pt x="10125" y="48558"/>
                    <a:pt x="6071" y="43542"/>
                  </a:cubicBezTo>
                  <a:cubicBezTo>
                    <a:pt x="2000" y="38452"/>
                    <a:pt x="-145" y="32091"/>
                    <a:pt x="8" y="25576"/>
                  </a:cubicBezTo>
                  <a:cubicBezTo>
                    <a:pt x="-130" y="19058"/>
                    <a:pt x="2016" y="12697"/>
                    <a:pt x="6071" y="7592"/>
                  </a:cubicBezTo>
                  <a:cubicBezTo>
                    <a:pt x="10125" y="2519"/>
                    <a:pt x="16274" y="-11"/>
                    <a:pt x="24519" y="0"/>
                  </a:cubicBezTo>
                  <a:cubicBezTo>
                    <a:pt x="32763" y="12"/>
                    <a:pt x="38907" y="2542"/>
                    <a:pt x="42949" y="7592"/>
                  </a:cubicBezTo>
                  <a:cubicBezTo>
                    <a:pt x="47010" y="12695"/>
                    <a:pt x="49160" y="19056"/>
                    <a:pt x="49030" y="25576"/>
                  </a:cubicBezTo>
                  <a:cubicBezTo>
                    <a:pt x="49177" y="32093"/>
                    <a:pt x="47023" y="38454"/>
                    <a:pt x="42949" y="43542"/>
                  </a:cubicBezTo>
                  <a:close/>
                  <a:moveTo>
                    <a:pt x="32918" y="36672"/>
                  </a:moveTo>
                  <a:cubicBezTo>
                    <a:pt x="35077" y="33390"/>
                    <a:pt x="36115" y="29497"/>
                    <a:pt x="35872" y="25576"/>
                  </a:cubicBezTo>
                  <a:cubicBezTo>
                    <a:pt x="36123" y="21654"/>
                    <a:pt x="35086" y="17758"/>
                    <a:pt x="32918" y="14480"/>
                  </a:cubicBezTo>
                  <a:cubicBezTo>
                    <a:pt x="28893" y="9808"/>
                    <a:pt x="21844" y="9283"/>
                    <a:pt x="17172" y="13307"/>
                  </a:cubicBezTo>
                  <a:cubicBezTo>
                    <a:pt x="16753" y="13668"/>
                    <a:pt x="16360" y="14060"/>
                    <a:pt x="15999" y="14480"/>
                  </a:cubicBezTo>
                  <a:cubicBezTo>
                    <a:pt x="13826" y="17756"/>
                    <a:pt x="12782" y="21652"/>
                    <a:pt x="13027" y="25576"/>
                  </a:cubicBezTo>
                  <a:cubicBezTo>
                    <a:pt x="12782" y="29510"/>
                    <a:pt x="13824" y="33418"/>
                    <a:pt x="15999" y="36706"/>
                  </a:cubicBezTo>
                  <a:cubicBezTo>
                    <a:pt x="19994" y="41378"/>
                    <a:pt x="27020" y="41927"/>
                    <a:pt x="31692" y="37932"/>
                  </a:cubicBezTo>
                  <a:cubicBezTo>
                    <a:pt x="32131" y="37556"/>
                    <a:pt x="32542" y="37146"/>
                    <a:pt x="32918" y="36706"/>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0" name="Google Shape;20;p45"/>
            <p:cNvSpPr/>
            <p:nvPr/>
          </p:nvSpPr>
          <p:spPr>
            <a:xfrm rot="-5400000">
              <a:off x="12005374" y="6370523"/>
              <a:ext cx="71791" cy="51205"/>
            </a:xfrm>
            <a:custGeom>
              <a:avLst/>
              <a:gdLst/>
              <a:ahLst/>
              <a:cxnLst/>
              <a:rect l="l" t="t" r="r" b="b"/>
              <a:pathLst>
                <a:path w="71791" h="51205" extrusionOk="0">
                  <a:moveTo>
                    <a:pt x="62643" y="1307"/>
                  </a:moveTo>
                  <a:cubicBezTo>
                    <a:pt x="64938" y="2282"/>
                    <a:pt x="66944" y="3832"/>
                    <a:pt x="68466" y="5808"/>
                  </a:cubicBezTo>
                  <a:cubicBezTo>
                    <a:pt x="69936" y="7685"/>
                    <a:pt x="70917" y="9898"/>
                    <a:pt x="71317" y="12249"/>
                  </a:cubicBezTo>
                  <a:cubicBezTo>
                    <a:pt x="71680" y="14693"/>
                    <a:pt x="71834" y="17164"/>
                    <a:pt x="71781" y="19635"/>
                  </a:cubicBezTo>
                  <a:lnTo>
                    <a:pt x="71781" y="51205"/>
                  </a:lnTo>
                  <a:lnTo>
                    <a:pt x="58349" y="51205"/>
                  </a:lnTo>
                  <a:lnTo>
                    <a:pt x="58349" y="19308"/>
                  </a:lnTo>
                  <a:cubicBezTo>
                    <a:pt x="58414" y="17701"/>
                    <a:pt x="58101" y="16101"/>
                    <a:pt x="57438" y="14636"/>
                  </a:cubicBezTo>
                  <a:cubicBezTo>
                    <a:pt x="56188" y="12289"/>
                    <a:pt x="53642" y="10931"/>
                    <a:pt x="50997" y="11201"/>
                  </a:cubicBezTo>
                  <a:cubicBezTo>
                    <a:pt x="47802" y="10957"/>
                    <a:pt x="44803" y="12763"/>
                    <a:pt x="43525" y="15701"/>
                  </a:cubicBezTo>
                  <a:cubicBezTo>
                    <a:pt x="42766" y="17522"/>
                    <a:pt x="42404" y="19483"/>
                    <a:pt x="42460" y="21455"/>
                  </a:cubicBezTo>
                  <a:lnTo>
                    <a:pt x="42460" y="51205"/>
                  </a:lnTo>
                  <a:lnTo>
                    <a:pt x="29269" y="51205"/>
                  </a:lnTo>
                  <a:lnTo>
                    <a:pt x="29269" y="21387"/>
                  </a:lnTo>
                  <a:cubicBezTo>
                    <a:pt x="29389" y="19189"/>
                    <a:pt x="29080" y="16990"/>
                    <a:pt x="28359" y="14911"/>
                  </a:cubicBezTo>
                  <a:cubicBezTo>
                    <a:pt x="27192" y="12446"/>
                    <a:pt x="24595" y="10986"/>
                    <a:pt x="21883" y="11270"/>
                  </a:cubicBezTo>
                  <a:cubicBezTo>
                    <a:pt x="18138" y="11270"/>
                    <a:pt x="15626" y="12484"/>
                    <a:pt x="14342" y="14911"/>
                  </a:cubicBezTo>
                  <a:cubicBezTo>
                    <a:pt x="13527" y="16854"/>
                    <a:pt x="13162" y="18956"/>
                    <a:pt x="13277" y="21060"/>
                  </a:cubicBezTo>
                  <a:lnTo>
                    <a:pt x="13277" y="51205"/>
                  </a:lnTo>
                  <a:lnTo>
                    <a:pt x="0" y="51205"/>
                  </a:lnTo>
                  <a:lnTo>
                    <a:pt x="0" y="1221"/>
                  </a:lnTo>
                  <a:lnTo>
                    <a:pt x="12728" y="1221"/>
                  </a:lnTo>
                  <a:lnTo>
                    <a:pt x="12728" y="8556"/>
                  </a:lnTo>
                  <a:cubicBezTo>
                    <a:pt x="13930" y="6449"/>
                    <a:pt x="15488" y="4567"/>
                    <a:pt x="17331" y="2991"/>
                  </a:cubicBezTo>
                  <a:cubicBezTo>
                    <a:pt x="23120" y="-769"/>
                    <a:pt x="30538" y="-929"/>
                    <a:pt x="36483" y="2578"/>
                  </a:cubicBezTo>
                  <a:cubicBezTo>
                    <a:pt x="38381" y="4179"/>
                    <a:pt x="39841" y="6236"/>
                    <a:pt x="40726" y="8556"/>
                  </a:cubicBezTo>
                  <a:cubicBezTo>
                    <a:pt x="42206" y="5843"/>
                    <a:pt x="44413" y="3595"/>
                    <a:pt x="47098" y="2063"/>
                  </a:cubicBezTo>
                  <a:cubicBezTo>
                    <a:pt x="49896" y="665"/>
                    <a:pt x="52988" y="-42"/>
                    <a:pt x="56116" y="2"/>
                  </a:cubicBezTo>
                  <a:cubicBezTo>
                    <a:pt x="58356" y="15"/>
                    <a:pt x="60571" y="458"/>
                    <a:pt x="62643" y="1307"/>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1" name="Google Shape;21;p45"/>
            <p:cNvSpPr/>
            <p:nvPr/>
          </p:nvSpPr>
          <p:spPr>
            <a:xfrm rot="-5400000">
              <a:off x="12026199" y="6307354"/>
              <a:ext cx="13277" cy="68070"/>
            </a:xfrm>
            <a:custGeom>
              <a:avLst/>
              <a:gdLst/>
              <a:ahLst/>
              <a:cxnLst/>
              <a:rect l="l" t="t" r="r" b="b"/>
              <a:pathLst>
                <a:path w="13277" h="68070" extrusionOk="0">
                  <a:moveTo>
                    <a:pt x="13278" y="12024"/>
                  </a:moveTo>
                  <a:lnTo>
                    <a:pt x="0" y="12024"/>
                  </a:lnTo>
                  <a:lnTo>
                    <a:pt x="0" y="0"/>
                  </a:lnTo>
                  <a:lnTo>
                    <a:pt x="13278" y="0"/>
                  </a:lnTo>
                  <a:close/>
                  <a:moveTo>
                    <a:pt x="0" y="17984"/>
                  </a:moveTo>
                  <a:lnTo>
                    <a:pt x="13278" y="17984"/>
                  </a:lnTo>
                  <a:lnTo>
                    <a:pt x="13278" y="68070"/>
                  </a:lnTo>
                  <a:lnTo>
                    <a:pt x="0" y="6807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2" name="Google Shape;22;p45"/>
            <p:cNvSpPr/>
            <p:nvPr/>
          </p:nvSpPr>
          <p:spPr>
            <a:xfrm rot="-5400000">
              <a:off x="12018641" y="6273739"/>
              <a:ext cx="45208" cy="51255"/>
            </a:xfrm>
            <a:custGeom>
              <a:avLst/>
              <a:gdLst/>
              <a:ahLst/>
              <a:cxnLst/>
              <a:rect l="l" t="t" r="r" b="b"/>
              <a:pathLst>
                <a:path w="45208" h="51255" extrusionOk="0">
                  <a:moveTo>
                    <a:pt x="40296" y="4038"/>
                  </a:moveTo>
                  <a:cubicBezTo>
                    <a:pt x="43560" y="6752"/>
                    <a:pt x="45209" y="11252"/>
                    <a:pt x="45209" y="17521"/>
                  </a:cubicBezTo>
                  <a:lnTo>
                    <a:pt x="45209" y="51256"/>
                  </a:lnTo>
                  <a:lnTo>
                    <a:pt x="31794" y="51256"/>
                  </a:lnTo>
                  <a:lnTo>
                    <a:pt x="31794" y="20785"/>
                  </a:lnTo>
                  <a:cubicBezTo>
                    <a:pt x="31900" y="18711"/>
                    <a:pt x="31543" y="16639"/>
                    <a:pt x="30746" y="14722"/>
                  </a:cubicBezTo>
                  <a:cubicBezTo>
                    <a:pt x="29458" y="12162"/>
                    <a:pt x="27036" y="10874"/>
                    <a:pt x="23446" y="10874"/>
                  </a:cubicBezTo>
                  <a:cubicBezTo>
                    <a:pt x="19511" y="10565"/>
                    <a:pt x="15833" y="12857"/>
                    <a:pt x="14377" y="16525"/>
                  </a:cubicBezTo>
                  <a:cubicBezTo>
                    <a:pt x="13439" y="18955"/>
                    <a:pt x="13001" y="21549"/>
                    <a:pt x="13089" y="24151"/>
                  </a:cubicBezTo>
                  <a:lnTo>
                    <a:pt x="13089" y="51256"/>
                  </a:lnTo>
                  <a:lnTo>
                    <a:pt x="0" y="51256"/>
                  </a:lnTo>
                  <a:lnTo>
                    <a:pt x="0" y="1272"/>
                  </a:lnTo>
                  <a:lnTo>
                    <a:pt x="12676" y="1272"/>
                  </a:lnTo>
                  <a:lnTo>
                    <a:pt x="12676" y="8607"/>
                  </a:lnTo>
                  <a:cubicBezTo>
                    <a:pt x="13946" y="6502"/>
                    <a:pt x="15553" y="4622"/>
                    <a:pt x="17434" y="3042"/>
                  </a:cubicBezTo>
                  <a:cubicBezTo>
                    <a:pt x="20409" y="938"/>
                    <a:pt x="23996" y="-125"/>
                    <a:pt x="27637" y="18"/>
                  </a:cubicBezTo>
                  <a:cubicBezTo>
                    <a:pt x="32199" y="-181"/>
                    <a:pt x="36684" y="1243"/>
                    <a:pt x="40296" y="403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sp>
          <p:nvSpPr>
            <p:cNvPr id="23" name="Google Shape;23;p45"/>
            <p:cNvSpPr/>
            <p:nvPr/>
          </p:nvSpPr>
          <p:spPr>
            <a:xfrm rot="-5400000">
              <a:off x="12017163" y="6218687"/>
              <a:ext cx="48082" cy="51510"/>
            </a:xfrm>
            <a:custGeom>
              <a:avLst/>
              <a:gdLst/>
              <a:ahLst/>
              <a:cxnLst/>
              <a:rect l="l" t="t" r="r" b="b"/>
              <a:pathLst>
                <a:path w="48082" h="51510" extrusionOk="0">
                  <a:moveTo>
                    <a:pt x="35384" y="2281"/>
                  </a:moveTo>
                  <a:cubicBezTo>
                    <a:pt x="38804" y="3821"/>
                    <a:pt x="41712" y="6306"/>
                    <a:pt x="43766" y="9444"/>
                  </a:cubicBezTo>
                  <a:cubicBezTo>
                    <a:pt x="45803" y="12448"/>
                    <a:pt x="47126" y="15880"/>
                    <a:pt x="47631" y="19475"/>
                  </a:cubicBezTo>
                  <a:cubicBezTo>
                    <a:pt x="48021" y="22665"/>
                    <a:pt x="48160" y="25881"/>
                    <a:pt x="48043" y="29094"/>
                  </a:cubicBezTo>
                  <a:lnTo>
                    <a:pt x="12711" y="29094"/>
                  </a:lnTo>
                  <a:cubicBezTo>
                    <a:pt x="12900" y="33955"/>
                    <a:pt x="14600" y="37373"/>
                    <a:pt x="17778" y="39400"/>
                  </a:cubicBezTo>
                  <a:cubicBezTo>
                    <a:pt x="19884" y="40669"/>
                    <a:pt x="22311" y="41306"/>
                    <a:pt x="24769" y="41237"/>
                  </a:cubicBezTo>
                  <a:cubicBezTo>
                    <a:pt x="27307" y="41354"/>
                    <a:pt x="29803" y="40563"/>
                    <a:pt x="31811" y="39004"/>
                  </a:cubicBezTo>
                  <a:cubicBezTo>
                    <a:pt x="32891" y="38080"/>
                    <a:pt x="33774" y="36947"/>
                    <a:pt x="34405" y="35672"/>
                  </a:cubicBezTo>
                  <a:lnTo>
                    <a:pt x="47407" y="35672"/>
                  </a:lnTo>
                  <a:cubicBezTo>
                    <a:pt x="46818" y="39021"/>
                    <a:pt x="45169" y="42092"/>
                    <a:pt x="42701" y="44432"/>
                  </a:cubicBezTo>
                  <a:cubicBezTo>
                    <a:pt x="38355" y="49156"/>
                    <a:pt x="32292" y="51509"/>
                    <a:pt x="24459" y="51509"/>
                  </a:cubicBezTo>
                  <a:cubicBezTo>
                    <a:pt x="18245" y="51584"/>
                    <a:pt x="12202" y="49474"/>
                    <a:pt x="7386" y="45549"/>
                  </a:cubicBezTo>
                  <a:cubicBezTo>
                    <a:pt x="2461" y="41564"/>
                    <a:pt x="0" y="35094"/>
                    <a:pt x="0" y="26139"/>
                  </a:cubicBezTo>
                  <a:cubicBezTo>
                    <a:pt x="0" y="17746"/>
                    <a:pt x="2228" y="11304"/>
                    <a:pt x="6682" y="6816"/>
                  </a:cubicBezTo>
                  <a:cubicBezTo>
                    <a:pt x="11252" y="2254"/>
                    <a:pt x="17508" y="-208"/>
                    <a:pt x="23961" y="14"/>
                  </a:cubicBezTo>
                  <a:cubicBezTo>
                    <a:pt x="27886" y="-52"/>
                    <a:pt x="31782" y="721"/>
                    <a:pt x="35384" y="2281"/>
                  </a:cubicBezTo>
                  <a:close/>
                  <a:moveTo>
                    <a:pt x="16490" y="13223"/>
                  </a:moveTo>
                  <a:cubicBezTo>
                    <a:pt x="14554" y="15309"/>
                    <a:pt x="13350" y="17967"/>
                    <a:pt x="13054" y="20797"/>
                  </a:cubicBezTo>
                  <a:lnTo>
                    <a:pt x="34886" y="20797"/>
                  </a:lnTo>
                  <a:cubicBezTo>
                    <a:pt x="34844" y="17880"/>
                    <a:pt x="33601" y="15108"/>
                    <a:pt x="31450" y="13137"/>
                  </a:cubicBezTo>
                  <a:cubicBezTo>
                    <a:pt x="29363" y="11367"/>
                    <a:pt x="26698" y="10426"/>
                    <a:pt x="23961" y="10491"/>
                  </a:cubicBezTo>
                  <a:cubicBezTo>
                    <a:pt x="21201" y="10337"/>
                    <a:pt x="18499" y="11325"/>
                    <a:pt x="16490" y="1322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B4B4B4"/>
                </a:solidFill>
                <a:latin typeface="Calibri"/>
                <a:ea typeface="Calibri"/>
                <a:cs typeface="Calibri"/>
                <a:sym typeface="Calibri"/>
              </a:endParaRPr>
            </a:p>
          </p:txBody>
        </p:sp>
      </p:grpSp>
      <p:pic>
        <p:nvPicPr>
          <p:cNvPr id="24" name="Google Shape;24;p45"/>
          <p:cNvPicPr preferRelativeResize="0"/>
          <p:nvPr/>
        </p:nvPicPr>
        <p:blipFill rotWithShape="1">
          <a:blip r:embed="rId31">
            <a:alphaModFix/>
          </a:blip>
          <a:srcRect/>
          <a:stretch/>
        </p:blipFill>
        <p:spPr>
          <a:xfrm rot="-5400000">
            <a:off x="11811887" y="6349041"/>
            <a:ext cx="441438" cy="68706"/>
          </a:xfrm>
          <a:prstGeom prst="rect">
            <a:avLst/>
          </a:prstGeom>
          <a:noFill/>
          <a:ln>
            <a:noFill/>
          </a:ln>
        </p:spPr>
      </p:pic>
      <p:sp>
        <p:nvSpPr>
          <p:cNvPr id="25" name="Google Shape;25;p45"/>
          <p:cNvSpPr txBox="1">
            <a:spLocks noGrp="1"/>
          </p:cNvSpPr>
          <p:nvPr>
            <p:ph type="title"/>
          </p:nvPr>
        </p:nvSpPr>
        <p:spPr>
          <a:xfrm>
            <a:off x="539400" y="560589"/>
            <a:ext cx="11089972" cy="443198"/>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3200"/>
              <a:buFont typeface="Franklin Gothic"/>
              <a:buNone/>
              <a:defRPr sz="3200" b="0" i="0" u="none" strike="noStrike" cap="none">
                <a:solidFill>
                  <a:schemeClr val="dk2"/>
                </a:solidFill>
                <a:latin typeface="Franklin Gothic"/>
                <a:ea typeface="Franklin Gothic"/>
                <a:cs typeface="Franklin Gothic"/>
                <a:sym typeface="Franklin Gothic"/>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 name="Google Shape;26;p45"/>
          <p:cNvSpPr txBox="1">
            <a:spLocks noGrp="1"/>
          </p:cNvSpPr>
          <p:nvPr>
            <p:ph type="body" idx="1"/>
          </p:nvPr>
        </p:nvSpPr>
        <p:spPr>
          <a:xfrm>
            <a:off x="550862" y="1859913"/>
            <a:ext cx="11089973" cy="362150"/>
          </a:xfrm>
          <a:prstGeom prst="rect">
            <a:avLst/>
          </a:prstGeom>
          <a:noFill/>
          <a:ln>
            <a:noFill/>
          </a:ln>
        </p:spPr>
        <p:txBody>
          <a:bodyPr spcFirstLastPara="1" wrap="square" lIns="0" tIns="0" rIns="0" bIns="0" anchor="t" anchorCtr="0">
            <a:spAutoFit/>
          </a:bodyPr>
          <a:lstStyle>
            <a:lvl1pPr marL="457200" marR="0" lvl="0" indent="-228600" algn="l" rtl="0">
              <a:lnSpc>
                <a:spcPct val="95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320040" algn="l" rtl="0">
              <a:lnSpc>
                <a:spcPct val="95000"/>
              </a:lnSpc>
              <a:spcBef>
                <a:spcPts val="5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2pPr>
            <a:lvl3pPr marL="1371600" marR="0" lvl="2" indent="-330200" algn="l" rtl="0">
              <a:lnSpc>
                <a:spcPct val="95000"/>
              </a:lnSpc>
              <a:spcBef>
                <a:spcPts val="3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20039" algn="l" rtl="0">
              <a:lnSpc>
                <a:spcPct val="95000"/>
              </a:lnSpc>
              <a:spcBef>
                <a:spcPts val="100"/>
              </a:spcBef>
              <a:spcAft>
                <a:spcPts val="0"/>
              </a:spcAft>
              <a:buClr>
                <a:schemeClr val="dk2"/>
              </a:buClr>
              <a:buSzPts val="1440"/>
              <a:buFont typeface="Noto Sans Symbols"/>
              <a:buChar char="▪"/>
              <a:defRPr sz="1600" b="0" i="0" u="none" strike="noStrike" cap="none">
                <a:solidFill>
                  <a:schemeClr val="dk1"/>
                </a:solidFill>
                <a:latin typeface="Calibri"/>
                <a:ea typeface="Calibri"/>
                <a:cs typeface="Calibri"/>
                <a:sym typeface="Calibri"/>
              </a:defRPr>
            </a:lvl4pPr>
            <a:lvl5pPr marL="2286000" marR="0" lvl="4" indent="-330200" algn="l" rtl="0">
              <a:lnSpc>
                <a:spcPct val="95000"/>
              </a:lnSpc>
              <a:spcBef>
                <a:spcPts val="100"/>
              </a:spcBef>
              <a:spcAft>
                <a:spcPts val="0"/>
              </a:spcAft>
              <a:buClr>
                <a:schemeClr val="dk2"/>
              </a:buClr>
              <a:buSzPts val="1600"/>
              <a:buFont typeface="Calibri"/>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 name="Google Shape;27;p45"/>
          <p:cNvSpPr txBox="1">
            <a:spLocks noGrp="1"/>
          </p:cNvSpPr>
          <p:nvPr>
            <p:ph type="ftr" idx="11"/>
          </p:nvPr>
        </p:nvSpPr>
        <p:spPr>
          <a:xfrm>
            <a:off x="550863" y="6450257"/>
            <a:ext cx="5545138" cy="153856"/>
          </a:xfrm>
          <a:prstGeom prst="rect">
            <a:avLst/>
          </a:prstGeom>
          <a:noFill/>
          <a:ln>
            <a:noFill/>
          </a:ln>
        </p:spPr>
        <p:txBody>
          <a:bodyPr spcFirstLastPara="1" wrap="square" lIns="0" tIns="0" rIns="0" bIns="0" anchor="b" anchorCtr="0">
            <a:sp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8" name="Google Shape;28;p45"/>
          <p:cNvSpPr txBox="1">
            <a:spLocks noGrp="1"/>
          </p:cNvSpPr>
          <p:nvPr>
            <p:ph type="sldNum" idx="12"/>
          </p:nvPr>
        </p:nvSpPr>
        <p:spPr>
          <a:xfrm>
            <a:off x="11490154" y="6465614"/>
            <a:ext cx="150682" cy="138500"/>
          </a:xfrm>
          <a:prstGeom prst="rect">
            <a:avLst/>
          </a:prstGeom>
          <a:noFill/>
          <a:ln>
            <a:noFill/>
          </a:ln>
        </p:spPr>
        <p:txBody>
          <a:bodyPr spcFirstLastPara="1" wrap="square" lIns="0" tIns="0" rIns="0" bIns="0" anchor="b" anchorCtr="0">
            <a:spAutoFit/>
          </a:bodyPr>
          <a:lstStyle>
            <a:lvl1pPr marL="0" marR="0" lvl="0"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rtl="0">
              <a:lnSpc>
                <a:spcPct val="9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fld id="{00000000-1234-1234-1234-123412341234}" type="slidenum">
              <a:rPr lang="en-US" smtClean="0"/>
              <a:pPr/>
              <a:t>‹#›</a:t>
            </a:fld>
            <a:endParaRPr lang="en-US"/>
          </a:p>
        </p:txBody>
      </p:sp>
      <p:sp>
        <p:nvSpPr>
          <p:cNvPr id="29" name="Google Shape;29;p45"/>
          <p:cNvSpPr txBox="1"/>
          <p:nvPr/>
        </p:nvSpPr>
        <p:spPr>
          <a:xfrm rot="-5400000">
            <a:off x="11250972" y="5290632"/>
            <a:ext cx="1567737" cy="110800"/>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800"/>
              <a:buFont typeface="Arial"/>
              <a:buNone/>
            </a:pPr>
            <a:r>
              <a:rPr lang="en-US" sz="800" b="0" i="0" u="none" strike="noStrike" cap="none" dirty="0">
                <a:solidFill>
                  <a:srgbClr val="B4B4B4"/>
                </a:solidFill>
                <a:latin typeface="Calibri"/>
                <a:ea typeface="Calibri"/>
                <a:cs typeface="Calibri"/>
                <a:sym typeface="Calibri"/>
              </a:rPr>
              <a:t>Copyright © 2023. All rights reserved.</a:t>
            </a:r>
            <a:endParaRPr sz="1400" b="0" i="0" u="none" strike="noStrike" cap="none" dirty="0">
              <a:solidFill>
                <a:srgbClr val="000000"/>
              </a:solidFill>
              <a:latin typeface="Arial"/>
              <a:ea typeface="Arial"/>
              <a:cs typeface="Arial"/>
              <a:sym typeface="Arial"/>
            </a:endParaRPr>
          </a:p>
        </p:txBody>
      </p:sp>
      <p:cxnSp>
        <p:nvCxnSpPr>
          <p:cNvPr id="30" name="Google Shape;30;p45"/>
          <p:cNvCxnSpPr/>
          <p:nvPr/>
        </p:nvCxnSpPr>
        <p:spPr>
          <a:xfrm>
            <a:off x="539400" y="484910"/>
            <a:ext cx="540000" cy="0"/>
          </a:xfrm>
          <a:prstGeom prst="straightConnector1">
            <a:avLst/>
          </a:prstGeom>
          <a:noFill/>
          <a:ln w="38100" cap="flat" cmpd="sng">
            <a:solidFill>
              <a:schemeClr val="dk2"/>
            </a:solidFill>
            <a:prstDash val="solid"/>
            <a:miter lim="800000"/>
            <a:headEnd type="none" w="sm" len="sm"/>
            <a:tailEnd type="none" w="sm" len="sm"/>
          </a:ln>
        </p:spPr>
      </p:cxnSp>
      <p:sp>
        <p:nvSpPr>
          <p:cNvPr id="31" name="Google Shape;31;p45"/>
          <p:cNvSpPr txBox="1"/>
          <p:nvPr/>
        </p:nvSpPr>
        <p:spPr>
          <a:xfrm>
            <a:off x="11490154" y="6465615"/>
            <a:ext cx="150682" cy="138499"/>
          </a:xfrm>
          <a:prstGeom prst="rect">
            <a:avLst/>
          </a:prstGeom>
          <a:noFill/>
          <a:ln>
            <a:noFill/>
          </a:ln>
        </p:spPr>
        <p:txBody>
          <a:bodyPr spcFirstLastPara="1" wrap="square" lIns="0" tIns="0" rIns="0" bIns="0" anchor="b" anchorCtr="0">
            <a:spAutoFit/>
          </a:bodyPr>
          <a:lstStyle/>
          <a:p>
            <a:pPr marL="0" marR="0" lvl="0" indent="0" algn="r" rtl="0">
              <a:lnSpc>
                <a:spcPct val="90000"/>
              </a:lnSpc>
              <a:spcBef>
                <a:spcPts val="0"/>
              </a:spcBef>
              <a:spcAft>
                <a:spcPts val="0"/>
              </a:spcAft>
              <a:buClr>
                <a:srgbClr val="000000"/>
              </a:buClr>
              <a:buSzPts val="1000"/>
              <a:buFont typeface="Arial"/>
              <a:buNone/>
            </a:pPr>
            <a:fld id="{00000000-1234-1234-1234-123412341234}" type="slidenum">
              <a:rPr lang="en-US" sz="1000" b="0" i="0" u="none" strike="noStrike" cap="none">
                <a:solidFill>
                  <a:srgbClr val="7F7F7F"/>
                </a:solidFill>
                <a:latin typeface="Calibri"/>
                <a:ea typeface="Calibri"/>
                <a:cs typeface="Calibri"/>
                <a:sym typeface="Calibri"/>
              </a:rPr>
              <a:pPr marL="0" marR="0" lvl="0" indent="0" algn="r" rtl="0">
                <a:lnSpc>
                  <a:spcPct val="90000"/>
                </a:lnSpc>
                <a:spcBef>
                  <a:spcPts val="0"/>
                </a:spcBef>
                <a:spcAft>
                  <a:spcPts val="0"/>
                </a:spcAft>
                <a:buClr>
                  <a:srgbClr val="000000"/>
                </a:buClr>
                <a:buSzPts val="1000"/>
                <a:buFont typeface="Arial"/>
                <a:buNone/>
              </a:pPr>
              <a:t>‹#›</a:t>
            </a:fld>
            <a:endParaRPr sz="1000" b="0" i="0" u="none" strike="noStrike" cap="none">
              <a:solidFill>
                <a:srgbClr val="7F7F7F"/>
              </a:solidFill>
              <a:latin typeface="Calibri"/>
              <a:ea typeface="Calibri"/>
              <a:cs typeface="Calibri"/>
              <a:sym typeface="Calibri"/>
            </a:endParaRPr>
          </a:p>
        </p:txBody>
      </p:sp>
    </p:spTree>
    <p:extLst>
      <p:ext uri="{BB962C8B-B14F-4D97-AF65-F5344CB8AC3E}">
        <p14:creationId xmlns:p14="http://schemas.microsoft.com/office/powerpoint/2010/main" val="3372038522"/>
      </p:ext>
    </p:extLst>
  </p:cSld>
  <p:clrMap bg1="lt1" tx1="dk1" bg2="dk2" tx2="lt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46">
          <p15:clr>
            <a:srgbClr val="F26B43"/>
          </p15:clr>
        </p15:guide>
        <p15:guide id="2" pos="347">
          <p15:clr>
            <a:srgbClr val="F26B43"/>
          </p15:clr>
        </p15:guide>
        <p15:guide id="3" pos="7333">
          <p15:clr>
            <a:srgbClr val="F26B43"/>
          </p15:clr>
        </p15:guide>
        <p15:guide id="4" orient="horz" pos="1170">
          <p15:clr>
            <a:srgbClr val="F26B43"/>
          </p15:clr>
        </p15:guide>
        <p15:guide id="5" orient="horz" pos="3974">
          <p15:clr>
            <a:srgbClr val="F26B43"/>
          </p15:clr>
        </p15:guide>
        <p15:guide id="6" pos="3749">
          <p15:clr>
            <a:srgbClr val="F26B43"/>
          </p15:clr>
        </p15:guide>
        <p15:guide id="7" pos="393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1.bin"/><Relationship Id="rId7" Type="http://schemas.openxmlformats.org/officeDocument/2006/relationships/image" Target="../media/image15.png"/><Relationship Id="rId2" Type="http://schemas.openxmlformats.org/officeDocument/2006/relationships/slideLayout" Target="../slideLayouts/slideLayout23.xml"/><Relationship Id="rId1" Type="http://schemas.openxmlformats.org/officeDocument/2006/relationships/tags" Target="../tags/tag19.xml"/><Relationship Id="rId6" Type="http://schemas.microsoft.com/office/2007/relationships/hdphoto" Target="../media/hdphoto1.wdp"/><Relationship Id="rId5" Type="http://schemas.openxmlformats.org/officeDocument/2006/relationships/image" Target="../media/image14.png"/><Relationship Id="rId10" Type="http://schemas.openxmlformats.org/officeDocument/2006/relationships/image" Target="../media/image18.svg"/><Relationship Id="rId4" Type="http://schemas.openxmlformats.org/officeDocument/2006/relationships/image" Target="../media/image10.emf"/><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C3D5D9-A4E4-2A8B-3312-A86545505D4B}"/>
              </a:ext>
            </a:extLst>
          </p:cNvPr>
          <p:cNvGraphicFramePr>
            <a:graphicFrameLocks noChangeAspect="1"/>
          </p:cNvGraphicFramePr>
          <p:nvPr>
            <p:custDataLst>
              <p:tags r:id="rId1"/>
            </p:custDataLst>
            <p:extLst>
              <p:ext uri="{D42A27DB-BD31-4B8C-83A1-F6EECF244321}">
                <p14:modId xmlns:p14="http://schemas.microsoft.com/office/powerpoint/2010/main" val="3085752271"/>
              </p:ext>
            </p:extLst>
          </p:nvPr>
        </p:nvGraphicFramePr>
        <p:xfrm>
          <a:off x="1601" y="1622"/>
          <a:ext cx="1441" cy="1441"/>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ABC3D5D9-A4E4-2A8B-3312-A86545505D4B}"/>
                          </a:ext>
                        </a:extLst>
                      </p:cNvPr>
                      <p:cNvPicPr/>
                      <p:nvPr/>
                    </p:nvPicPr>
                    <p:blipFill>
                      <a:blip r:embed="rId4"/>
                      <a:stretch>
                        <a:fillRect/>
                      </a:stretch>
                    </p:blipFill>
                    <p:spPr>
                      <a:xfrm>
                        <a:off x="1601" y="1622"/>
                        <a:ext cx="1441" cy="144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049970-A4FC-E703-56F8-F87E8EC94E43}"/>
              </a:ext>
            </a:extLst>
          </p:cNvPr>
          <p:cNvSpPr>
            <a:spLocks noGrp="1"/>
          </p:cNvSpPr>
          <p:nvPr>
            <p:ph type="title"/>
          </p:nvPr>
        </p:nvSpPr>
        <p:spPr>
          <a:xfrm>
            <a:off x="531960" y="560740"/>
            <a:ext cx="11089681" cy="332399"/>
          </a:xfrm>
        </p:spPr>
        <p:txBody>
          <a:bodyPr vert="horz"/>
          <a:lstStyle/>
          <a:p>
            <a:r>
              <a:rPr lang="en-US" sz="2400" kern="1200" dirty="0">
                <a:solidFill>
                  <a:schemeClr val="bg2"/>
                </a:solidFill>
                <a:latin typeface="Franklin Gothic Demi" panose="020B0703020102020204" pitchFamily="34" charset="0"/>
                <a:ea typeface="+mj-ea"/>
                <a:cs typeface="Calibri" panose="020F0502020204030204" pitchFamily="34" charset="0"/>
              </a:rPr>
              <a:t>Streamlining IT Inventory Management with Data Analytics</a:t>
            </a:r>
          </a:p>
        </p:txBody>
      </p:sp>
      <p:sp>
        <p:nvSpPr>
          <p:cNvPr id="6" name="Arrow: Pentagon 5">
            <a:extLst>
              <a:ext uri="{FF2B5EF4-FFF2-40B4-BE49-F238E27FC236}">
                <a16:creationId xmlns:a16="http://schemas.microsoft.com/office/drawing/2014/main" id="{AA060237-E879-E368-4A4F-459E8A7B34E1}"/>
              </a:ext>
            </a:extLst>
          </p:cNvPr>
          <p:cNvSpPr>
            <a:spLocks/>
          </p:cNvSpPr>
          <p:nvPr/>
        </p:nvSpPr>
        <p:spPr>
          <a:xfrm flipH="1">
            <a:off x="10346878" y="560740"/>
            <a:ext cx="1844964" cy="886327"/>
          </a:xfrm>
          <a:prstGeom prst="homePlate">
            <a:avLst>
              <a:gd name="adj" fmla="val 1507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9">
              <a:buClr>
                <a:srgbClr val="000000"/>
              </a:buClr>
            </a:pPr>
            <a:endParaRPr lang="en-US" sz="1270" kern="0">
              <a:solidFill>
                <a:srgbClr val="FFFFFF"/>
              </a:solidFill>
              <a:latin typeface="Calibri" panose="020F0502020204030204"/>
              <a:sym typeface="Arial"/>
            </a:endParaRPr>
          </a:p>
        </p:txBody>
      </p:sp>
      <p:pic>
        <p:nvPicPr>
          <p:cNvPr id="7" name="Google Shape;547;p30">
            <a:extLst>
              <a:ext uri="{FF2B5EF4-FFF2-40B4-BE49-F238E27FC236}">
                <a16:creationId xmlns:a16="http://schemas.microsoft.com/office/drawing/2014/main" id="{14EEBC35-7C75-CC36-C151-1C15D60622D3}"/>
              </a:ext>
            </a:extLst>
          </p:cNvPr>
          <p:cNvPicPr preferRelativeResize="0"/>
          <p:nvPr/>
        </p:nvPicPr>
        <p:blipFill rotWithShape="1">
          <a:blip r:embed="rId5" cstate="print">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10819587" y="615136"/>
            <a:ext cx="861027" cy="777534"/>
          </a:xfrm>
          <a:prstGeom prst="rect">
            <a:avLst/>
          </a:prstGeom>
          <a:noFill/>
          <a:ln>
            <a:noFill/>
          </a:ln>
        </p:spPr>
      </p:pic>
      <p:sp>
        <p:nvSpPr>
          <p:cNvPr id="8" name="Google Shape;831;p25">
            <a:extLst>
              <a:ext uri="{FF2B5EF4-FFF2-40B4-BE49-F238E27FC236}">
                <a16:creationId xmlns:a16="http://schemas.microsoft.com/office/drawing/2014/main" id="{437CDCD2-62E1-68A0-3BC4-ABE11E06E204}"/>
              </a:ext>
            </a:extLst>
          </p:cNvPr>
          <p:cNvSpPr>
            <a:spLocks/>
          </p:cNvSpPr>
          <p:nvPr/>
        </p:nvSpPr>
        <p:spPr>
          <a:xfrm>
            <a:off x="499868"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lang="en-US" sz="1270" kern="0" dirty="0">
              <a:solidFill>
                <a:srgbClr val="000000"/>
              </a:solidFill>
              <a:latin typeface="Arial"/>
              <a:cs typeface="Arial"/>
              <a:sym typeface="Arial"/>
            </a:endParaRPr>
          </a:p>
        </p:txBody>
      </p:sp>
      <p:sp>
        <p:nvSpPr>
          <p:cNvPr id="9" name="Google Shape;831;p25">
            <a:extLst>
              <a:ext uri="{FF2B5EF4-FFF2-40B4-BE49-F238E27FC236}">
                <a16:creationId xmlns:a16="http://schemas.microsoft.com/office/drawing/2014/main" id="{4BAA93C5-308E-A007-113A-B5C8467384B7}"/>
              </a:ext>
            </a:extLst>
          </p:cNvPr>
          <p:cNvSpPr>
            <a:spLocks/>
          </p:cNvSpPr>
          <p:nvPr/>
        </p:nvSpPr>
        <p:spPr>
          <a:xfrm>
            <a:off x="8035632"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kern="0" dirty="0">
              <a:solidFill>
                <a:srgbClr val="000000"/>
              </a:solidFill>
              <a:latin typeface="Arial"/>
              <a:cs typeface="Arial"/>
              <a:sym typeface="Arial"/>
            </a:endParaRPr>
          </a:p>
        </p:txBody>
      </p:sp>
      <p:sp>
        <p:nvSpPr>
          <p:cNvPr id="10" name="Google Shape;831;p25">
            <a:extLst>
              <a:ext uri="{FF2B5EF4-FFF2-40B4-BE49-F238E27FC236}">
                <a16:creationId xmlns:a16="http://schemas.microsoft.com/office/drawing/2014/main" id="{A0F3F831-A8B3-37F3-2E13-D75807978594}"/>
              </a:ext>
            </a:extLst>
          </p:cNvPr>
          <p:cNvSpPr>
            <a:spLocks/>
          </p:cNvSpPr>
          <p:nvPr/>
        </p:nvSpPr>
        <p:spPr>
          <a:xfrm>
            <a:off x="4267750" y="2096818"/>
            <a:ext cx="3654797" cy="4238255"/>
          </a:xfrm>
          <a:prstGeom prst="roundRect">
            <a:avLst>
              <a:gd name="adj" fmla="val 8678"/>
            </a:avLst>
          </a:prstGeom>
          <a:solidFill>
            <a:schemeClr val="lt1"/>
          </a:solidFill>
          <a:ln>
            <a:noFill/>
          </a:ln>
          <a:effectLst>
            <a:outerShdw blurRad="508000" algn="ctr" rotWithShape="0">
              <a:srgbClr val="000000">
                <a:alpha val="14901"/>
              </a:srgbClr>
            </a:outerShdw>
          </a:effectLst>
        </p:spPr>
        <p:txBody>
          <a:bodyPr spcFirstLastPara="1" wrap="square" lIns="130627" tIns="163284" rIns="130627" bIns="163284" anchor="t" anchorCtr="0">
            <a:noAutofit/>
          </a:bodyPr>
          <a:lstStyle/>
          <a:p>
            <a:pPr algn="ctr" defTabSz="829549">
              <a:lnSpc>
                <a:spcPct val="130769"/>
              </a:lnSpc>
              <a:buClr>
                <a:srgbClr val="00B9FF"/>
              </a:buClr>
              <a:buSzPts val="1300"/>
            </a:pPr>
            <a:endParaRPr sz="1270" kern="0" dirty="0">
              <a:solidFill>
                <a:srgbClr val="000000"/>
              </a:solidFill>
              <a:latin typeface="Arial"/>
              <a:cs typeface="Arial"/>
              <a:sym typeface="Arial"/>
            </a:endParaRPr>
          </a:p>
        </p:txBody>
      </p:sp>
      <p:sp>
        <p:nvSpPr>
          <p:cNvPr id="11" name="Google Shape;563;p30">
            <a:extLst>
              <a:ext uri="{FF2B5EF4-FFF2-40B4-BE49-F238E27FC236}">
                <a16:creationId xmlns:a16="http://schemas.microsoft.com/office/drawing/2014/main" id="{774AD125-EE4E-CA2E-479B-E3DEF47E72E6}"/>
              </a:ext>
            </a:extLst>
          </p:cNvPr>
          <p:cNvSpPr txBox="1">
            <a:spLocks/>
          </p:cNvSpPr>
          <p:nvPr/>
        </p:nvSpPr>
        <p:spPr>
          <a:xfrm>
            <a:off x="8177133" y="2479658"/>
            <a:ext cx="3412649" cy="3655174"/>
          </a:xfrm>
          <a:prstGeom prst="rect">
            <a:avLst/>
          </a:prstGeom>
          <a:noFill/>
          <a:ln>
            <a:noFill/>
          </a:ln>
        </p:spPr>
        <p:txBody>
          <a:bodyPr spcFirstLastPara="1" wrap="square" lIns="0" tIns="0" rIns="0" bIns="0" anchor="t" anchorCtr="0">
            <a:noAutofit/>
          </a:bodyPr>
          <a:lstStyle/>
          <a:p>
            <a:pPr defTabSz="829549">
              <a:lnSpc>
                <a:spcPts val="1633"/>
              </a:lnSpc>
              <a:buClr>
                <a:srgbClr val="00B9FF"/>
              </a:buClr>
              <a:buSzPct val="100000"/>
            </a:pPr>
            <a:r>
              <a:rPr lang="en-US" sz="1452" kern="0" dirty="0">
                <a:solidFill>
                  <a:srgbClr val="444444"/>
                </a:solidFill>
                <a:latin typeface="Calibri" panose="020F0502020204030204"/>
                <a:ea typeface="Calibri"/>
                <a:cs typeface="Calibri"/>
                <a:sym typeface="Calibri"/>
              </a:rPr>
              <a:t>The client benefited from Infomineo Data Analytics service on multiple fronts: </a:t>
            </a:r>
          </a:p>
          <a:p>
            <a:pPr marL="259233" lvl="3" indent="-259233" defTabSz="829549">
              <a:lnSpc>
                <a:spcPts val="1814"/>
              </a:lnSpc>
              <a:buClr>
                <a:srgbClr val="0F47F2"/>
              </a:buClr>
              <a:buSzPct val="100000"/>
              <a:buFont typeface="Wingdings" panose="05000000000000000000" pitchFamily="2" charset="2"/>
              <a:buChar char="§"/>
            </a:pPr>
            <a:endParaRPr lang="en-US" sz="1452" b="1" kern="0" dirty="0">
              <a:solidFill>
                <a:srgbClr val="0F47F2"/>
              </a:solidFill>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kern="0" dirty="0">
                <a:solidFill>
                  <a:srgbClr val="00B9FF"/>
                </a:solidFill>
                <a:latin typeface="Calibri" panose="020F0502020204030204"/>
                <a:ea typeface="Calibri"/>
                <a:cs typeface="Calibri"/>
                <a:sym typeface="Calibri"/>
              </a:rPr>
              <a:t>Automated QR Code Generation </a:t>
            </a:r>
          </a:p>
          <a:p>
            <a:pPr marL="0" lvl="3" defTabSz="829549">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The generation of QR codes for each item the IT inventory has been automated. These QR codes are tailored to each item, containing essential information. The QR code generation capabilities allow to create codes for multiple items simultaneously, drastically reducing the time and effort required to maintain the IT inventory.</a:t>
            </a:r>
          </a:p>
          <a:p>
            <a:pPr marL="259233" lvl="3" indent="-259233" defTabSz="829549">
              <a:lnSpc>
                <a:spcPts val="1814"/>
              </a:lnSpc>
              <a:buClr>
                <a:srgbClr val="00B9FF"/>
              </a:buClr>
              <a:buSzPct val="100000"/>
              <a:buFont typeface="Wingdings" panose="05000000000000000000" pitchFamily="2" charset="2"/>
              <a:buChar char="§"/>
            </a:pPr>
            <a:endParaRPr lang="en-US" sz="1452" b="1" kern="0" dirty="0">
              <a:solidFill>
                <a:srgbClr val="00B9FF"/>
              </a:solidFill>
              <a:latin typeface="Calibri" panose="020F0502020204030204"/>
              <a:ea typeface="Calibri"/>
              <a:cs typeface="Calibri"/>
              <a:sym typeface="Calibri"/>
            </a:endParaRPr>
          </a:p>
          <a:p>
            <a:pPr marL="259233" lvl="3" indent="-259233" defTabSz="829549">
              <a:lnSpc>
                <a:spcPts val="1814"/>
              </a:lnSpc>
              <a:buClr>
                <a:srgbClr val="00B9FF"/>
              </a:buClr>
              <a:buSzPct val="100000"/>
              <a:buFont typeface="Wingdings" panose="05000000000000000000" pitchFamily="2" charset="2"/>
              <a:buChar char="§"/>
            </a:pPr>
            <a:r>
              <a:rPr lang="en-US" sz="1452" b="1" kern="0" dirty="0">
                <a:solidFill>
                  <a:srgbClr val="00B9FF"/>
                </a:solidFill>
                <a:latin typeface="Calibri" panose="020F0502020204030204"/>
                <a:ea typeface="Calibri"/>
                <a:cs typeface="Calibri"/>
                <a:sym typeface="Calibri"/>
              </a:rPr>
              <a:t>Customized PowerPoint Creation: </a:t>
            </a:r>
          </a:p>
          <a:p>
            <a:pPr marL="0" lvl="3" defTabSz="829549">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Additionally, PowerPoint presentations have been created for each item, making it easier to visualize and track the assets. These presentations can be sent out for printing, ensuring consistency.</a:t>
            </a:r>
          </a:p>
          <a:p>
            <a:pPr marL="157614" indent="-157614" defTabSz="829549">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a:p>
            <a:pPr marL="157614" indent="-157614" defTabSz="829549">
              <a:lnSpc>
                <a:spcPts val="1633"/>
              </a:lnSpc>
              <a:buClr>
                <a:srgbClr val="00B9FF"/>
              </a:buClr>
              <a:buSzPct val="100000"/>
              <a:buFont typeface="Wingdings" panose="05000000000000000000" pitchFamily="2" charset="2"/>
              <a:buChar char="§"/>
            </a:pPr>
            <a:endParaRPr lang="en-US" sz="1270" b="1" kern="0" dirty="0">
              <a:solidFill>
                <a:srgbClr val="000000"/>
              </a:solidFill>
              <a:latin typeface="Calibri" panose="020F0502020204030204"/>
              <a:ea typeface="Calibri"/>
              <a:cs typeface="Calibri"/>
              <a:sym typeface="Calibri"/>
            </a:endParaRPr>
          </a:p>
        </p:txBody>
      </p:sp>
      <p:sp>
        <p:nvSpPr>
          <p:cNvPr id="12" name="Google Shape;543;p30">
            <a:extLst>
              <a:ext uri="{FF2B5EF4-FFF2-40B4-BE49-F238E27FC236}">
                <a16:creationId xmlns:a16="http://schemas.microsoft.com/office/drawing/2014/main" id="{623E9CDE-389C-AC3E-0413-2E079F26F6B7}"/>
              </a:ext>
            </a:extLst>
          </p:cNvPr>
          <p:cNvSpPr txBox="1">
            <a:spLocks/>
          </p:cNvSpPr>
          <p:nvPr/>
        </p:nvSpPr>
        <p:spPr>
          <a:xfrm>
            <a:off x="727046" y="2479659"/>
            <a:ext cx="3331188" cy="1846659"/>
          </a:xfrm>
          <a:prstGeom prst="rect">
            <a:avLst/>
          </a:prstGeom>
          <a:noFill/>
          <a:ln>
            <a:noFill/>
          </a:ln>
        </p:spPr>
        <p:txBody>
          <a:bodyPr spcFirstLastPara="1" wrap="square" lIns="0" tIns="0" rIns="0" bIns="0" anchor="t" anchorCtr="0">
            <a:spAutoFit/>
          </a:bodyPr>
          <a:lstStyle/>
          <a:p>
            <a:pPr defTabSz="829549">
              <a:lnSpc>
                <a:spcPts val="1633"/>
              </a:lnSpc>
              <a:buClr>
                <a:srgbClr val="000000"/>
              </a:buClr>
            </a:pPr>
            <a:r>
              <a:rPr lang="en-US" sz="1270" kern="0" dirty="0">
                <a:solidFill>
                  <a:srgbClr val="000000"/>
                </a:solidFill>
                <a:latin typeface="Calibri" panose="020F0502020204030204"/>
                <a:ea typeface="Calibri"/>
                <a:cs typeface="Calibri"/>
                <a:sym typeface="Calibri"/>
              </a:rPr>
              <a:t>IT team spend a significant amount of time to maintain an accurate and up-to-date inventory sheet for all equipment, from laptops to monitors. </a:t>
            </a:r>
          </a:p>
          <a:p>
            <a:pPr defTabSz="829549">
              <a:lnSpc>
                <a:spcPts val="1633"/>
              </a:lnSpc>
              <a:buClr>
                <a:srgbClr val="000000"/>
              </a:buClr>
            </a:pPr>
            <a:endParaRPr lang="en-US" sz="1270" kern="0" dirty="0">
              <a:solidFill>
                <a:srgbClr val="000000"/>
              </a:solidFill>
              <a:latin typeface="Calibri" panose="020F0502020204030204"/>
              <a:ea typeface="Calibri"/>
              <a:cs typeface="Calibri"/>
              <a:sym typeface="Calibri"/>
            </a:endParaRPr>
          </a:p>
          <a:p>
            <a:pPr defTabSz="829549">
              <a:lnSpc>
                <a:spcPts val="1633"/>
              </a:lnSpc>
              <a:buClr>
                <a:srgbClr val="000000"/>
              </a:buClr>
            </a:pPr>
            <a:r>
              <a:rPr lang="en-US" sz="1270" kern="0" dirty="0">
                <a:solidFill>
                  <a:srgbClr val="000000"/>
                </a:solidFill>
                <a:latin typeface="Calibri" panose="020F0502020204030204"/>
                <a:ea typeface="Calibri"/>
                <a:cs typeface="Calibri"/>
                <a:sym typeface="Calibri"/>
              </a:rPr>
              <a:t>Not only does this process consume valuable resources, but it can also be error-prone and time-intensive. </a:t>
            </a:r>
          </a:p>
          <a:p>
            <a:pPr defTabSz="829549">
              <a:lnSpc>
                <a:spcPts val="1633"/>
              </a:lnSpc>
              <a:buClr>
                <a:srgbClr val="000000"/>
              </a:buClr>
            </a:pPr>
            <a:endParaRPr lang="en-US" sz="1270" kern="0" dirty="0">
              <a:solidFill>
                <a:srgbClr val="000000"/>
              </a:solidFill>
              <a:latin typeface="Calibri" panose="020F0502020204030204"/>
              <a:ea typeface="Calibri"/>
              <a:cs typeface="Calibri"/>
              <a:sym typeface="Calibri"/>
            </a:endParaRPr>
          </a:p>
          <a:p>
            <a:pPr defTabSz="829549">
              <a:lnSpc>
                <a:spcPts val="1633"/>
              </a:lnSpc>
              <a:buClr>
                <a:srgbClr val="000000"/>
              </a:buClr>
            </a:pPr>
            <a:r>
              <a:rPr lang="en-US" sz="1270" kern="0" dirty="0">
                <a:solidFill>
                  <a:srgbClr val="000000"/>
                </a:solidFill>
                <a:latin typeface="Calibri" panose="020F0502020204030204"/>
                <a:ea typeface="Calibri"/>
                <a:cs typeface="Calibri"/>
                <a:sym typeface="Calibri"/>
              </a:rPr>
              <a:t>The firm was looking for: </a:t>
            </a:r>
            <a:endParaRPr lang="en-US" sz="1270" kern="0" dirty="0">
              <a:solidFill>
                <a:srgbClr val="444444"/>
              </a:solidFill>
              <a:latin typeface="Calibri" panose="020F0502020204030204"/>
              <a:ea typeface="Calibri"/>
              <a:cs typeface="Calibri"/>
              <a:sym typeface="Calibri"/>
            </a:endParaRPr>
          </a:p>
        </p:txBody>
      </p:sp>
      <p:sp>
        <p:nvSpPr>
          <p:cNvPr id="13" name="Google Shape;565;p30">
            <a:extLst>
              <a:ext uri="{FF2B5EF4-FFF2-40B4-BE49-F238E27FC236}">
                <a16:creationId xmlns:a16="http://schemas.microsoft.com/office/drawing/2014/main" id="{7A6AC40E-0552-398A-D202-6FAF5E960267}"/>
              </a:ext>
            </a:extLst>
          </p:cNvPr>
          <p:cNvSpPr txBox="1">
            <a:spLocks/>
          </p:cNvSpPr>
          <p:nvPr/>
        </p:nvSpPr>
        <p:spPr>
          <a:xfrm>
            <a:off x="4393070" y="2479658"/>
            <a:ext cx="3427619" cy="654635"/>
          </a:xfrm>
          <a:prstGeom prst="rect">
            <a:avLst/>
          </a:prstGeom>
          <a:noFill/>
          <a:ln>
            <a:noFill/>
          </a:ln>
        </p:spPr>
        <p:txBody>
          <a:bodyPr spcFirstLastPara="1" wrap="square" lIns="0" tIns="0" rIns="0" bIns="0" anchor="t" anchorCtr="0">
            <a:noAutofit/>
          </a:bodyPr>
          <a:lstStyle/>
          <a:p>
            <a:pPr defTabSz="829549">
              <a:lnSpc>
                <a:spcPts val="1633"/>
              </a:lnSpc>
              <a:buClr>
                <a:srgbClr val="000000"/>
              </a:buClr>
            </a:pPr>
            <a:r>
              <a:rPr lang="en-US" sz="1452" kern="0" dirty="0">
                <a:solidFill>
                  <a:srgbClr val="222222"/>
                </a:solidFill>
                <a:latin typeface="Calibri" panose="020F0502020204030204"/>
                <a:ea typeface="Calibri"/>
                <a:cs typeface="Calibri"/>
                <a:sym typeface="Calibri"/>
              </a:rPr>
              <a:t>Infomineo’ s Data Analytics team addressed the client’s challenges by developing :</a:t>
            </a:r>
          </a:p>
        </p:txBody>
      </p:sp>
      <p:sp>
        <p:nvSpPr>
          <p:cNvPr id="14" name="Google Shape;540;p30">
            <a:extLst>
              <a:ext uri="{FF2B5EF4-FFF2-40B4-BE49-F238E27FC236}">
                <a16:creationId xmlns:a16="http://schemas.microsoft.com/office/drawing/2014/main" id="{B2AE7E99-5152-2E43-E2A1-5244A380D08C}"/>
              </a:ext>
            </a:extLst>
          </p:cNvPr>
          <p:cNvSpPr>
            <a:spLocks/>
          </p:cNvSpPr>
          <p:nvPr/>
        </p:nvSpPr>
        <p:spPr>
          <a:xfrm>
            <a:off x="8025818" y="1687982"/>
            <a:ext cx="3654797" cy="71384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endParaRPr sz="1400" b="1">
              <a:solidFill>
                <a:srgbClr val="FFFFFF"/>
              </a:solidFill>
              <a:latin typeface="Calibri" panose="020F0502020204030204" pitchFamily="34" charset="0"/>
              <a:cs typeface="Calibri" panose="020F0502020204030204" pitchFamily="34" charset="0"/>
              <a:sym typeface="Arial"/>
            </a:endParaRPr>
          </a:p>
        </p:txBody>
      </p:sp>
      <p:sp>
        <p:nvSpPr>
          <p:cNvPr id="16" name="Google Shape;545;p30">
            <a:extLst>
              <a:ext uri="{FF2B5EF4-FFF2-40B4-BE49-F238E27FC236}">
                <a16:creationId xmlns:a16="http://schemas.microsoft.com/office/drawing/2014/main" id="{DE14FC74-4454-A0A2-3631-8F1ABE5F08E4}"/>
              </a:ext>
            </a:extLst>
          </p:cNvPr>
          <p:cNvSpPr>
            <a:spLocks/>
          </p:cNvSpPr>
          <p:nvPr/>
        </p:nvSpPr>
        <p:spPr>
          <a:xfrm>
            <a:off x="499868"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endParaRPr sz="1400" b="1">
              <a:solidFill>
                <a:srgbClr val="FFFFFF"/>
              </a:solidFill>
              <a:latin typeface="Calibri" panose="020F0502020204030204" pitchFamily="34" charset="0"/>
              <a:cs typeface="Calibri" panose="020F0502020204030204" pitchFamily="34" charset="0"/>
              <a:sym typeface="Arial"/>
            </a:endParaRPr>
          </a:p>
        </p:txBody>
      </p:sp>
      <p:grpSp>
        <p:nvGrpSpPr>
          <p:cNvPr id="18" name="Group 17">
            <a:extLst>
              <a:ext uri="{FF2B5EF4-FFF2-40B4-BE49-F238E27FC236}">
                <a16:creationId xmlns:a16="http://schemas.microsoft.com/office/drawing/2014/main" id="{00DE3B1A-0309-7790-11AB-E1A2BDE6DD4B}"/>
              </a:ext>
            </a:extLst>
          </p:cNvPr>
          <p:cNvGrpSpPr/>
          <p:nvPr/>
        </p:nvGrpSpPr>
        <p:grpSpPr>
          <a:xfrm>
            <a:off x="3466060" y="1746839"/>
            <a:ext cx="592175" cy="593316"/>
            <a:chOff x="3416568" y="1395569"/>
            <a:chExt cx="955760" cy="957600"/>
          </a:xfrm>
        </p:grpSpPr>
        <p:sp>
          <p:nvSpPr>
            <p:cNvPr id="19" name="Google Shape;551;p30">
              <a:extLst>
                <a:ext uri="{FF2B5EF4-FFF2-40B4-BE49-F238E27FC236}">
                  <a16:creationId xmlns:a16="http://schemas.microsoft.com/office/drawing/2014/main" id="{09DAD9EB-FACD-11F1-81A0-91BECBBB7ABE}"/>
                </a:ext>
              </a:extLst>
            </p:cNvPr>
            <p:cNvSpPr/>
            <p:nvPr/>
          </p:nvSpPr>
          <p:spPr>
            <a:xfrm>
              <a:off x="3416568"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buClr>
                  <a:srgbClr val="000000"/>
                </a:buClr>
              </a:pPr>
              <a:endParaRPr sz="1401" kern="0">
                <a:solidFill>
                  <a:srgbClr val="FFFFFF"/>
                </a:solidFill>
                <a:latin typeface="Arial"/>
                <a:cs typeface="Arial"/>
                <a:sym typeface="Arial"/>
              </a:endParaRPr>
            </a:p>
          </p:txBody>
        </p:sp>
        <p:pic>
          <p:nvPicPr>
            <p:cNvPr id="20" name="Google Shape;552;p30">
              <a:extLst>
                <a:ext uri="{FF2B5EF4-FFF2-40B4-BE49-F238E27FC236}">
                  <a16:creationId xmlns:a16="http://schemas.microsoft.com/office/drawing/2014/main" id="{2ADA25A6-55BB-375C-3FBC-0D3A1967BAA7}"/>
                </a:ext>
              </a:extLst>
            </p:cNvPr>
            <p:cNvPicPr preferRelativeResize="0"/>
            <p:nvPr/>
          </p:nvPicPr>
          <p:blipFill rotWithShape="1">
            <a:blip r:embed="rId7" cstate="print">
              <a:alphaModFix/>
              <a:extLst>
                <a:ext uri="{28A0092B-C50C-407E-A947-70E740481C1C}">
                  <a14:useLocalDpi xmlns:a14="http://schemas.microsoft.com/office/drawing/2010/main" val="0"/>
                </a:ext>
              </a:extLst>
            </a:blip>
            <a:srcRect/>
            <a:stretch/>
          </p:blipFill>
          <p:spPr>
            <a:xfrm>
              <a:off x="3568608" y="1548529"/>
              <a:ext cx="651681" cy="651681"/>
            </a:xfrm>
            <a:prstGeom prst="rect">
              <a:avLst/>
            </a:prstGeom>
            <a:noFill/>
            <a:ln>
              <a:noFill/>
            </a:ln>
          </p:spPr>
        </p:pic>
      </p:grpSp>
      <p:sp>
        <p:nvSpPr>
          <p:cNvPr id="21" name="Google Shape;566;p30">
            <a:extLst>
              <a:ext uri="{FF2B5EF4-FFF2-40B4-BE49-F238E27FC236}">
                <a16:creationId xmlns:a16="http://schemas.microsoft.com/office/drawing/2014/main" id="{CFF90EF1-108A-552A-987E-AAB081B8A93D}"/>
              </a:ext>
            </a:extLst>
          </p:cNvPr>
          <p:cNvSpPr>
            <a:spLocks/>
          </p:cNvSpPr>
          <p:nvPr/>
        </p:nvSpPr>
        <p:spPr>
          <a:xfrm>
            <a:off x="4262843" y="1685069"/>
            <a:ext cx="3654797" cy="716854"/>
          </a:xfrm>
          <a:prstGeom prst="round2SameRect">
            <a:avLst/>
          </a:prstGeom>
          <a:gradFill flip="none" rotWithShape="1">
            <a:gsLst>
              <a:gs pos="16000">
                <a:schemeClr val="bg2">
                  <a:lumMod val="50000"/>
                </a:schemeClr>
              </a:gs>
              <a:gs pos="46000">
                <a:schemeClr val="bg2"/>
              </a:gs>
              <a:gs pos="79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406"/>
            <a:endParaRPr sz="1400" b="1">
              <a:solidFill>
                <a:srgbClr val="FFFFFF"/>
              </a:solidFill>
              <a:latin typeface="Calibri" panose="020F0502020204030204" pitchFamily="34" charset="0"/>
              <a:cs typeface="Calibri" panose="020F0502020204030204" pitchFamily="34" charset="0"/>
              <a:sym typeface="Arial"/>
            </a:endParaRPr>
          </a:p>
        </p:txBody>
      </p:sp>
      <p:grpSp>
        <p:nvGrpSpPr>
          <p:cNvPr id="23" name="Group 22">
            <a:extLst>
              <a:ext uri="{FF2B5EF4-FFF2-40B4-BE49-F238E27FC236}">
                <a16:creationId xmlns:a16="http://schemas.microsoft.com/office/drawing/2014/main" id="{F58CF39B-A9E8-096B-A98F-6B8BDC120665}"/>
              </a:ext>
            </a:extLst>
          </p:cNvPr>
          <p:cNvGrpSpPr/>
          <p:nvPr/>
        </p:nvGrpSpPr>
        <p:grpSpPr>
          <a:xfrm>
            <a:off x="7222928" y="1746839"/>
            <a:ext cx="592175" cy="593316"/>
            <a:chOff x="7762572" y="1395569"/>
            <a:chExt cx="955760" cy="957600"/>
          </a:xfrm>
        </p:grpSpPr>
        <p:sp>
          <p:nvSpPr>
            <p:cNvPr id="24" name="Google Shape;568;p30">
              <a:extLst>
                <a:ext uri="{FF2B5EF4-FFF2-40B4-BE49-F238E27FC236}">
                  <a16:creationId xmlns:a16="http://schemas.microsoft.com/office/drawing/2014/main" id="{B888F0DF-C8E7-C5C4-4B74-B13C37E69855}"/>
                </a:ext>
              </a:extLst>
            </p:cNvPr>
            <p:cNvSpPr/>
            <p:nvPr/>
          </p:nvSpPr>
          <p:spPr>
            <a:xfrm>
              <a:off x="7762572" y="1395569"/>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buClr>
                  <a:srgbClr val="000000"/>
                </a:buClr>
              </a:pPr>
              <a:endParaRPr sz="1597" kern="0">
                <a:solidFill>
                  <a:srgbClr val="FFFFFF"/>
                </a:solidFill>
                <a:latin typeface="Arial"/>
                <a:cs typeface="Arial"/>
                <a:sym typeface="Arial"/>
              </a:endParaRPr>
            </a:p>
          </p:txBody>
        </p:sp>
        <p:pic>
          <p:nvPicPr>
            <p:cNvPr id="25" name="Google Shape;569;p30">
              <a:extLst>
                <a:ext uri="{FF2B5EF4-FFF2-40B4-BE49-F238E27FC236}">
                  <a16:creationId xmlns:a16="http://schemas.microsoft.com/office/drawing/2014/main" id="{A1410139-8304-D436-8B99-717601F526CA}"/>
                </a:ext>
              </a:extLst>
            </p:cNvPr>
            <p:cNvPicPr preferRelativeResize="0"/>
            <p:nvPr/>
          </p:nvPicPr>
          <p:blipFill rotWithShape="1">
            <a:blip r:embed="rId8" cstate="print">
              <a:alphaModFix/>
              <a:extLst>
                <a:ext uri="{28A0092B-C50C-407E-A947-70E740481C1C}">
                  <a14:useLocalDpi xmlns:a14="http://schemas.microsoft.com/office/drawing/2010/main" val="0"/>
                </a:ext>
              </a:extLst>
            </a:blip>
            <a:srcRect/>
            <a:stretch/>
          </p:blipFill>
          <p:spPr>
            <a:xfrm>
              <a:off x="7909107" y="1543024"/>
              <a:ext cx="662691" cy="662691"/>
            </a:xfrm>
            <a:prstGeom prst="rect">
              <a:avLst/>
            </a:prstGeom>
            <a:noFill/>
            <a:ln>
              <a:noFill/>
            </a:ln>
          </p:spPr>
        </p:pic>
      </p:grpSp>
      <p:grpSp>
        <p:nvGrpSpPr>
          <p:cNvPr id="26" name="Group 25">
            <a:extLst>
              <a:ext uri="{FF2B5EF4-FFF2-40B4-BE49-F238E27FC236}">
                <a16:creationId xmlns:a16="http://schemas.microsoft.com/office/drawing/2014/main" id="{EFB3134A-BF84-6564-36D8-3F0E0D1E8998}"/>
              </a:ext>
            </a:extLst>
          </p:cNvPr>
          <p:cNvGrpSpPr/>
          <p:nvPr/>
        </p:nvGrpSpPr>
        <p:grpSpPr>
          <a:xfrm>
            <a:off x="10997607" y="1746839"/>
            <a:ext cx="592175" cy="593316"/>
            <a:chOff x="12019931" y="1366765"/>
            <a:chExt cx="955760" cy="957600"/>
          </a:xfrm>
        </p:grpSpPr>
        <p:sp>
          <p:nvSpPr>
            <p:cNvPr id="27" name="Google Shape;583;p30">
              <a:extLst>
                <a:ext uri="{FF2B5EF4-FFF2-40B4-BE49-F238E27FC236}">
                  <a16:creationId xmlns:a16="http://schemas.microsoft.com/office/drawing/2014/main" id="{D3CC03A4-60C0-F0F8-DFCA-32F9B9F64F55}"/>
                </a:ext>
              </a:extLst>
            </p:cNvPr>
            <p:cNvSpPr/>
            <p:nvPr/>
          </p:nvSpPr>
          <p:spPr>
            <a:xfrm>
              <a:off x="12019931" y="1366765"/>
              <a:ext cx="955760" cy="957600"/>
            </a:xfrm>
            <a:prstGeom prst="ellipse">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2" tIns="45697" rIns="91422" bIns="45697" anchor="ctr" anchorCtr="0">
              <a:noAutofit/>
            </a:bodyPr>
            <a:lstStyle/>
            <a:p>
              <a:pPr algn="ctr" defTabSz="829549">
                <a:buClr>
                  <a:srgbClr val="000000"/>
                </a:buClr>
              </a:pPr>
              <a:endParaRPr sz="1401" kern="0">
                <a:solidFill>
                  <a:srgbClr val="FFFFFF"/>
                </a:solidFill>
                <a:highlight>
                  <a:srgbClr val="FFFF00"/>
                </a:highlight>
                <a:latin typeface="Arial"/>
                <a:cs typeface="Arial"/>
                <a:sym typeface="Arial"/>
              </a:endParaRPr>
            </a:p>
          </p:txBody>
        </p:sp>
        <p:grpSp>
          <p:nvGrpSpPr>
            <p:cNvPr id="28" name="Google Shape;584;p30">
              <a:extLst>
                <a:ext uri="{FF2B5EF4-FFF2-40B4-BE49-F238E27FC236}">
                  <a16:creationId xmlns:a16="http://schemas.microsoft.com/office/drawing/2014/main" id="{4DDEBE46-120B-C78E-737B-72E758847E55}"/>
                </a:ext>
              </a:extLst>
            </p:cNvPr>
            <p:cNvGrpSpPr/>
            <p:nvPr/>
          </p:nvGrpSpPr>
          <p:grpSpPr>
            <a:xfrm>
              <a:off x="12226115" y="1593618"/>
              <a:ext cx="543392" cy="503895"/>
              <a:chOff x="10915170" y="2075424"/>
              <a:chExt cx="432288" cy="400866"/>
            </a:xfrm>
          </p:grpSpPr>
          <p:sp>
            <p:nvSpPr>
              <p:cNvPr id="29" name="Google Shape;585;p30">
                <a:extLst>
                  <a:ext uri="{FF2B5EF4-FFF2-40B4-BE49-F238E27FC236}">
                    <a16:creationId xmlns:a16="http://schemas.microsoft.com/office/drawing/2014/main" id="{37CF0385-F04F-6170-5C0E-9A692BB40773}"/>
                  </a:ext>
                </a:extLst>
              </p:cNvPr>
              <p:cNvSpPr/>
              <p:nvPr/>
            </p:nvSpPr>
            <p:spPr>
              <a:xfrm>
                <a:off x="10915170" y="2075424"/>
                <a:ext cx="432288" cy="400866"/>
              </a:xfrm>
              <a:custGeom>
                <a:avLst/>
                <a:gdLst/>
                <a:ahLst/>
                <a:cxnLst/>
                <a:rect l="l" t="t" r="r" b="b"/>
                <a:pathLst>
                  <a:path w="840" h="806" extrusionOk="0">
                    <a:moveTo>
                      <a:pt x="831" y="80"/>
                    </a:moveTo>
                    <a:cubicBezTo>
                      <a:pt x="114" y="80"/>
                      <a:pt x="114" y="80"/>
                      <a:pt x="114" y="80"/>
                    </a:cubicBezTo>
                    <a:cubicBezTo>
                      <a:pt x="114" y="8"/>
                      <a:pt x="114" y="8"/>
                      <a:pt x="114" y="8"/>
                    </a:cubicBezTo>
                    <a:cubicBezTo>
                      <a:pt x="114" y="4"/>
                      <a:pt x="110" y="0"/>
                      <a:pt x="105" y="0"/>
                    </a:cubicBezTo>
                    <a:cubicBezTo>
                      <a:pt x="57" y="0"/>
                      <a:pt x="57" y="0"/>
                      <a:pt x="57" y="0"/>
                    </a:cubicBezTo>
                    <a:cubicBezTo>
                      <a:pt x="25" y="0"/>
                      <a:pt x="0" y="25"/>
                      <a:pt x="0" y="57"/>
                    </a:cubicBezTo>
                    <a:cubicBezTo>
                      <a:pt x="0" y="749"/>
                      <a:pt x="0" y="749"/>
                      <a:pt x="0" y="749"/>
                    </a:cubicBezTo>
                    <a:cubicBezTo>
                      <a:pt x="0" y="780"/>
                      <a:pt x="25" y="806"/>
                      <a:pt x="57" y="806"/>
                    </a:cubicBezTo>
                    <a:cubicBezTo>
                      <a:pt x="95" y="806"/>
                      <a:pt x="95" y="806"/>
                      <a:pt x="95" y="806"/>
                    </a:cubicBezTo>
                    <a:cubicBezTo>
                      <a:pt x="105" y="806"/>
                      <a:pt x="105" y="806"/>
                      <a:pt x="105" y="806"/>
                    </a:cubicBezTo>
                    <a:cubicBezTo>
                      <a:pt x="831" y="806"/>
                      <a:pt x="831" y="806"/>
                      <a:pt x="831" y="806"/>
                    </a:cubicBezTo>
                    <a:cubicBezTo>
                      <a:pt x="836" y="806"/>
                      <a:pt x="840" y="802"/>
                      <a:pt x="840" y="797"/>
                    </a:cubicBezTo>
                    <a:cubicBezTo>
                      <a:pt x="840" y="89"/>
                      <a:pt x="840" y="89"/>
                      <a:pt x="840" y="89"/>
                    </a:cubicBezTo>
                    <a:cubicBezTo>
                      <a:pt x="840" y="84"/>
                      <a:pt x="836" y="80"/>
                      <a:pt x="831" y="80"/>
                    </a:cubicBezTo>
                    <a:close/>
                    <a:moveTo>
                      <a:pt x="57" y="17"/>
                    </a:moveTo>
                    <a:cubicBezTo>
                      <a:pt x="97" y="17"/>
                      <a:pt x="97" y="17"/>
                      <a:pt x="97" y="17"/>
                    </a:cubicBezTo>
                    <a:cubicBezTo>
                      <a:pt x="97" y="692"/>
                      <a:pt x="97" y="692"/>
                      <a:pt x="97" y="692"/>
                    </a:cubicBezTo>
                    <a:cubicBezTo>
                      <a:pt x="57" y="692"/>
                      <a:pt x="57" y="692"/>
                      <a:pt x="57" y="692"/>
                    </a:cubicBezTo>
                    <a:cubicBezTo>
                      <a:pt x="41" y="692"/>
                      <a:pt x="27" y="698"/>
                      <a:pt x="17" y="708"/>
                    </a:cubicBezTo>
                    <a:cubicBezTo>
                      <a:pt x="17" y="57"/>
                      <a:pt x="17" y="57"/>
                      <a:pt x="17" y="57"/>
                    </a:cubicBezTo>
                    <a:cubicBezTo>
                      <a:pt x="17" y="35"/>
                      <a:pt x="35" y="17"/>
                      <a:pt x="57" y="17"/>
                    </a:cubicBezTo>
                    <a:close/>
                    <a:moveTo>
                      <a:pt x="823" y="788"/>
                    </a:moveTo>
                    <a:cubicBezTo>
                      <a:pt x="105" y="788"/>
                      <a:pt x="105" y="788"/>
                      <a:pt x="105" y="788"/>
                    </a:cubicBezTo>
                    <a:cubicBezTo>
                      <a:pt x="95" y="788"/>
                      <a:pt x="95" y="788"/>
                      <a:pt x="95" y="788"/>
                    </a:cubicBezTo>
                    <a:cubicBezTo>
                      <a:pt x="57" y="788"/>
                      <a:pt x="57" y="788"/>
                      <a:pt x="57" y="788"/>
                    </a:cubicBezTo>
                    <a:cubicBezTo>
                      <a:pt x="35" y="788"/>
                      <a:pt x="17" y="771"/>
                      <a:pt x="17" y="749"/>
                    </a:cubicBezTo>
                    <a:cubicBezTo>
                      <a:pt x="17" y="727"/>
                      <a:pt x="35" y="709"/>
                      <a:pt x="57" y="709"/>
                    </a:cubicBezTo>
                    <a:cubicBezTo>
                      <a:pt x="105" y="709"/>
                      <a:pt x="105" y="709"/>
                      <a:pt x="105" y="709"/>
                    </a:cubicBezTo>
                    <a:cubicBezTo>
                      <a:pt x="110" y="709"/>
                      <a:pt x="114" y="705"/>
                      <a:pt x="114" y="700"/>
                    </a:cubicBezTo>
                    <a:cubicBezTo>
                      <a:pt x="114" y="98"/>
                      <a:pt x="114" y="98"/>
                      <a:pt x="114" y="98"/>
                    </a:cubicBezTo>
                    <a:cubicBezTo>
                      <a:pt x="823" y="98"/>
                      <a:pt x="823" y="98"/>
                      <a:pt x="823" y="98"/>
                    </a:cubicBezTo>
                    <a:lnTo>
                      <a:pt x="823" y="788"/>
                    </a:lnTo>
                    <a:close/>
                  </a:path>
                </a:pathLst>
              </a:custGeom>
              <a:noFill/>
              <a:ln w="6350"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buClr>
                    <a:srgbClr val="000000"/>
                  </a:buClr>
                </a:pPr>
                <a:endParaRPr sz="1801" kern="0">
                  <a:solidFill>
                    <a:srgbClr val="444444"/>
                  </a:solidFill>
                  <a:highlight>
                    <a:srgbClr val="FFFF00"/>
                  </a:highlight>
                  <a:latin typeface="Calibri"/>
                  <a:ea typeface="Calibri"/>
                  <a:cs typeface="Calibri"/>
                  <a:sym typeface="Calibri"/>
                </a:endParaRPr>
              </a:p>
            </p:txBody>
          </p:sp>
          <p:sp>
            <p:nvSpPr>
              <p:cNvPr id="30" name="Google Shape;586;p30">
                <a:extLst>
                  <a:ext uri="{FF2B5EF4-FFF2-40B4-BE49-F238E27FC236}">
                    <a16:creationId xmlns:a16="http://schemas.microsoft.com/office/drawing/2014/main" id="{CC271DE2-2D86-0B4A-591F-DD3BD6AE75F1}"/>
                  </a:ext>
                </a:extLst>
              </p:cNvPr>
              <p:cNvSpPr/>
              <p:nvPr/>
            </p:nvSpPr>
            <p:spPr>
              <a:xfrm>
                <a:off x="11005647" y="2167089"/>
                <a:ext cx="282550" cy="266407"/>
              </a:xfrm>
              <a:custGeom>
                <a:avLst/>
                <a:gdLst/>
                <a:ahLst/>
                <a:cxnLst/>
                <a:rect l="l" t="t" r="r" b="b"/>
                <a:pathLst>
                  <a:path w="549" h="537" extrusionOk="0">
                    <a:moveTo>
                      <a:pt x="4" y="226"/>
                    </a:moveTo>
                    <a:cubicBezTo>
                      <a:pt x="71" y="293"/>
                      <a:pt x="71" y="293"/>
                      <a:pt x="71" y="293"/>
                    </a:cubicBezTo>
                    <a:cubicBezTo>
                      <a:pt x="73" y="295"/>
                      <a:pt x="75" y="296"/>
                      <a:pt x="77" y="296"/>
                    </a:cubicBezTo>
                    <a:cubicBezTo>
                      <a:pt x="79" y="296"/>
                      <a:pt x="81" y="295"/>
                      <a:pt x="83" y="293"/>
                    </a:cubicBezTo>
                    <a:cubicBezTo>
                      <a:pt x="148" y="229"/>
                      <a:pt x="148" y="229"/>
                      <a:pt x="148" y="229"/>
                    </a:cubicBezTo>
                    <a:cubicBezTo>
                      <a:pt x="295" y="229"/>
                      <a:pt x="295" y="229"/>
                      <a:pt x="295" y="229"/>
                    </a:cubicBezTo>
                    <a:cubicBezTo>
                      <a:pt x="437" y="229"/>
                      <a:pt x="437" y="229"/>
                      <a:pt x="437" y="229"/>
                    </a:cubicBezTo>
                    <a:cubicBezTo>
                      <a:pt x="437" y="268"/>
                      <a:pt x="437" y="268"/>
                      <a:pt x="437" y="268"/>
                    </a:cubicBezTo>
                    <a:cubicBezTo>
                      <a:pt x="437" y="272"/>
                      <a:pt x="441" y="276"/>
                      <a:pt x="446" y="276"/>
                    </a:cubicBezTo>
                    <a:cubicBezTo>
                      <a:pt x="484" y="276"/>
                      <a:pt x="484" y="276"/>
                      <a:pt x="484" y="276"/>
                    </a:cubicBezTo>
                    <a:cubicBezTo>
                      <a:pt x="484" y="418"/>
                      <a:pt x="484" y="418"/>
                      <a:pt x="484" y="418"/>
                    </a:cubicBezTo>
                    <a:cubicBezTo>
                      <a:pt x="460" y="422"/>
                      <a:pt x="442" y="441"/>
                      <a:pt x="438" y="465"/>
                    </a:cubicBezTo>
                    <a:cubicBezTo>
                      <a:pt x="116" y="465"/>
                      <a:pt x="116" y="465"/>
                      <a:pt x="116" y="465"/>
                    </a:cubicBezTo>
                    <a:cubicBezTo>
                      <a:pt x="116" y="419"/>
                      <a:pt x="116" y="419"/>
                      <a:pt x="116" y="419"/>
                    </a:cubicBezTo>
                    <a:cubicBezTo>
                      <a:pt x="116" y="416"/>
                      <a:pt x="115" y="413"/>
                      <a:pt x="112" y="411"/>
                    </a:cubicBezTo>
                    <a:cubicBezTo>
                      <a:pt x="110" y="410"/>
                      <a:pt x="106" y="410"/>
                      <a:pt x="104" y="411"/>
                    </a:cubicBezTo>
                    <a:cubicBezTo>
                      <a:pt x="9" y="466"/>
                      <a:pt x="9" y="466"/>
                      <a:pt x="9" y="466"/>
                    </a:cubicBezTo>
                    <a:cubicBezTo>
                      <a:pt x="6" y="468"/>
                      <a:pt x="5" y="470"/>
                      <a:pt x="5" y="474"/>
                    </a:cubicBezTo>
                    <a:cubicBezTo>
                      <a:pt x="5" y="477"/>
                      <a:pt x="6" y="479"/>
                      <a:pt x="9" y="481"/>
                    </a:cubicBezTo>
                    <a:cubicBezTo>
                      <a:pt x="104" y="536"/>
                      <a:pt x="104" y="536"/>
                      <a:pt x="104" y="536"/>
                    </a:cubicBezTo>
                    <a:cubicBezTo>
                      <a:pt x="105" y="536"/>
                      <a:pt x="106" y="537"/>
                      <a:pt x="108" y="537"/>
                    </a:cubicBezTo>
                    <a:cubicBezTo>
                      <a:pt x="109" y="537"/>
                      <a:pt x="111" y="536"/>
                      <a:pt x="112" y="536"/>
                    </a:cubicBezTo>
                    <a:cubicBezTo>
                      <a:pt x="115" y="534"/>
                      <a:pt x="116" y="531"/>
                      <a:pt x="116" y="528"/>
                    </a:cubicBezTo>
                    <a:cubicBezTo>
                      <a:pt x="116" y="482"/>
                      <a:pt x="116" y="482"/>
                      <a:pt x="116" y="482"/>
                    </a:cubicBezTo>
                    <a:cubicBezTo>
                      <a:pt x="438" y="482"/>
                      <a:pt x="438" y="482"/>
                      <a:pt x="438" y="482"/>
                    </a:cubicBezTo>
                    <a:cubicBezTo>
                      <a:pt x="442" y="509"/>
                      <a:pt x="465" y="530"/>
                      <a:pt x="493" y="530"/>
                    </a:cubicBezTo>
                    <a:cubicBezTo>
                      <a:pt x="524" y="530"/>
                      <a:pt x="549" y="504"/>
                      <a:pt x="549" y="474"/>
                    </a:cubicBezTo>
                    <a:cubicBezTo>
                      <a:pt x="549" y="446"/>
                      <a:pt x="528" y="423"/>
                      <a:pt x="502" y="418"/>
                    </a:cubicBezTo>
                    <a:cubicBezTo>
                      <a:pt x="502" y="276"/>
                      <a:pt x="502" y="276"/>
                      <a:pt x="502" y="276"/>
                    </a:cubicBezTo>
                    <a:cubicBezTo>
                      <a:pt x="540" y="276"/>
                      <a:pt x="540" y="276"/>
                      <a:pt x="540" y="276"/>
                    </a:cubicBezTo>
                    <a:cubicBezTo>
                      <a:pt x="545" y="276"/>
                      <a:pt x="549" y="272"/>
                      <a:pt x="549" y="268"/>
                    </a:cubicBezTo>
                    <a:cubicBezTo>
                      <a:pt x="549" y="173"/>
                      <a:pt x="549" y="173"/>
                      <a:pt x="549" y="173"/>
                    </a:cubicBezTo>
                    <a:cubicBezTo>
                      <a:pt x="549" y="168"/>
                      <a:pt x="545" y="164"/>
                      <a:pt x="540" y="164"/>
                    </a:cubicBezTo>
                    <a:cubicBezTo>
                      <a:pt x="446" y="164"/>
                      <a:pt x="446" y="164"/>
                      <a:pt x="446" y="164"/>
                    </a:cubicBezTo>
                    <a:cubicBezTo>
                      <a:pt x="441" y="164"/>
                      <a:pt x="437" y="168"/>
                      <a:pt x="437" y="173"/>
                    </a:cubicBezTo>
                    <a:cubicBezTo>
                      <a:pt x="437" y="212"/>
                      <a:pt x="437" y="212"/>
                      <a:pt x="437" y="212"/>
                    </a:cubicBezTo>
                    <a:cubicBezTo>
                      <a:pt x="303" y="212"/>
                      <a:pt x="303" y="212"/>
                      <a:pt x="303" y="212"/>
                    </a:cubicBezTo>
                    <a:cubicBezTo>
                      <a:pt x="303" y="140"/>
                      <a:pt x="303" y="140"/>
                      <a:pt x="303" y="140"/>
                    </a:cubicBezTo>
                    <a:cubicBezTo>
                      <a:pt x="338" y="136"/>
                      <a:pt x="365" y="107"/>
                      <a:pt x="365" y="71"/>
                    </a:cubicBezTo>
                    <a:cubicBezTo>
                      <a:pt x="365" y="32"/>
                      <a:pt x="334" y="0"/>
                      <a:pt x="295" y="0"/>
                    </a:cubicBezTo>
                    <a:cubicBezTo>
                      <a:pt x="259" y="0"/>
                      <a:pt x="230" y="27"/>
                      <a:pt x="225" y="62"/>
                    </a:cubicBezTo>
                    <a:cubicBezTo>
                      <a:pt x="77" y="62"/>
                      <a:pt x="77" y="62"/>
                      <a:pt x="77" y="62"/>
                    </a:cubicBezTo>
                    <a:cubicBezTo>
                      <a:pt x="72" y="62"/>
                      <a:pt x="68" y="66"/>
                      <a:pt x="68" y="71"/>
                    </a:cubicBezTo>
                    <a:cubicBezTo>
                      <a:pt x="68" y="150"/>
                      <a:pt x="68" y="150"/>
                      <a:pt x="68" y="150"/>
                    </a:cubicBezTo>
                    <a:cubicBezTo>
                      <a:pt x="4" y="214"/>
                      <a:pt x="4" y="214"/>
                      <a:pt x="4" y="214"/>
                    </a:cubicBezTo>
                    <a:cubicBezTo>
                      <a:pt x="0" y="217"/>
                      <a:pt x="0" y="223"/>
                      <a:pt x="4" y="226"/>
                    </a:cubicBezTo>
                    <a:close/>
                    <a:moveTo>
                      <a:pt x="99" y="513"/>
                    </a:moveTo>
                    <a:cubicBezTo>
                      <a:pt x="30" y="474"/>
                      <a:pt x="30" y="474"/>
                      <a:pt x="30" y="474"/>
                    </a:cubicBezTo>
                    <a:cubicBezTo>
                      <a:pt x="99" y="434"/>
                      <a:pt x="99" y="434"/>
                      <a:pt x="99" y="434"/>
                    </a:cubicBezTo>
                    <a:lnTo>
                      <a:pt x="99" y="513"/>
                    </a:lnTo>
                    <a:close/>
                    <a:moveTo>
                      <a:pt x="532" y="474"/>
                    </a:moveTo>
                    <a:cubicBezTo>
                      <a:pt x="532" y="495"/>
                      <a:pt x="514" y="512"/>
                      <a:pt x="493" y="512"/>
                    </a:cubicBezTo>
                    <a:cubicBezTo>
                      <a:pt x="472" y="512"/>
                      <a:pt x="454" y="495"/>
                      <a:pt x="454" y="474"/>
                    </a:cubicBezTo>
                    <a:cubicBezTo>
                      <a:pt x="454" y="452"/>
                      <a:pt x="472" y="435"/>
                      <a:pt x="493" y="435"/>
                    </a:cubicBezTo>
                    <a:cubicBezTo>
                      <a:pt x="514" y="435"/>
                      <a:pt x="532" y="452"/>
                      <a:pt x="532" y="474"/>
                    </a:cubicBezTo>
                    <a:close/>
                    <a:moveTo>
                      <a:pt x="454" y="181"/>
                    </a:moveTo>
                    <a:cubicBezTo>
                      <a:pt x="532" y="181"/>
                      <a:pt x="532" y="181"/>
                      <a:pt x="532" y="181"/>
                    </a:cubicBezTo>
                    <a:cubicBezTo>
                      <a:pt x="532" y="259"/>
                      <a:pt x="532" y="259"/>
                      <a:pt x="532" y="259"/>
                    </a:cubicBezTo>
                    <a:cubicBezTo>
                      <a:pt x="454" y="259"/>
                      <a:pt x="454" y="259"/>
                      <a:pt x="454" y="259"/>
                    </a:cubicBezTo>
                    <a:lnTo>
                      <a:pt x="454" y="181"/>
                    </a:lnTo>
                    <a:close/>
                    <a:moveTo>
                      <a:pt x="295" y="17"/>
                    </a:moveTo>
                    <a:cubicBezTo>
                      <a:pt x="324" y="17"/>
                      <a:pt x="348" y="41"/>
                      <a:pt x="348" y="71"/>
                    </a:cubicBezTo>
                    <a:cubicBezTo>
                      <a:pt x="348" y="100"/>
                      <a:pt x="324" y="124"/>
                      <a:pt x="295" y="124"/>
                    </a:cubicBezTo>
                    <a:cubicBezTo>
                      <a:pt x="265" y="124"/>
                      <a:pt x="242" y="100"/>
                      <a:pt x="242" y="71"/>
                    </a:cubicBezTo>
                    <a:cubicBezTo>
                      <a:pt x="242" y="41"/>
                      <a:pt x="265" y="17"/>
                      <a:pt x="295" y="17"/>
                    </a:cubicBezTo>
                    <a:close/>
                    <a:moveTo>
                      <a:pt x="225" y="79"/>
                    </a:moveTo>
                    <a:cubicBezTo>
                      <a:pt x="229" y="111"/>
                      <a:pt x="254" y="136"/>
                      <a:pt x="286" y="140"/>
                    </a:cubicBezTo>
                    <a:cubicBezTo>
                      <a:pt x="286" y="212"/>
                      <a:pt x="286" y="212"/>
                      <a:pt x="286" y="212"/>
                    </a:cubicBezTo>
                    <a:cubicBezTo>
                      <a:pt x="148" y="212"/>
                      <a:pt x="148" y="212"/>
                      <a:pt x="148" y="212"/>
                    </a:cubicBezTo>
                    <a:cubicBezTo>
                      <a:pt x="86" y="150"/>
                      <a:pt x="86" y="150"/>
                      <a:pt x="86" y="150"/>
                    </a:cubicBezTo>
                    <a:cubicBezTo>
                      <a:pt x="86" y="79"/>
                      <a:pt x="86" y="79"/>
                      <a:pt x="86" y="79"/>
                    </a:cubicBezTo>
                    <a:lnTo>
                      <a:pt x="225" y="79"/>
                    </a:lnTo>
                    <a:close/>
                    <a:moveTo>
                      <a:pt x="77" y="165"/>
                    </a:moveTo>
                    <a:cubicBezTo>
                      <a:pt x="132" y="220"/>
                      <a:pt x="132" y="220"/>
                      <a:pt x="132" y="220"/>
                    </a:cubicBezTo>
                    <a:cubicBezTo>
                      <a:pt x="77" y="275"/>
                      <a:pt x="77" y="275"/>
                      <a:pt x="77" y="275"/>
                    </a:cubicBezTo>
                    <a:cubicBezTo>
                      <a:pt x="22" y="220"/>
                      <a:pt x="22" y="220"/>
                      <a:pt x="22" y="220"/>
                    </a:cubicBezTo>
                    <a:lnTo>
                      <a:pt x="77" y="165"/>
                    </a:lnTo>
                    <a:close/>
                  </a:path>
                </a:pathLst>
              </a:custGeom>
              <a:solidFill>
                <a:schemeClr val="accent1"/>
              </a:solidFill>
              <a:ln w="3175" cap="flat" cmpd="sng">
                <a:solidFill>
                  <a:schemeClr val="accent1"/>
                </a:solidFill>
                <a:prstDash val="solid"/>
                <a:round/>
                <a:headEnd type="none" w="sm" len="sm"/>
                <a:tailEnd type="none" w="sm" len="sm"/>
              </a:ln>
            </p:spPr>
            <p:txBody>
              <a:bodyPr spcFirstLastPara="1" wrap="square" lIns="91422" tIns="45697" rIns="91422" bIns="45697" anchor="t" anchorCtr="0">
                <a:noAutofit/>
              </a:bodyPr>
              <a:lstStyle/>
              <a:p>
                <a:pPr defTabSz="829549">
                  <a:buClr>
                    <a:srgbClr val="000000"/>
                  </a:buClr>
                </a:pPr>
                <a:endParaRPr sz="1801" kern="0">
                  <a:solidFill>
                    <a:srgbClr val="444444"/>
                  </a:solidFill>
                  <a:highlight>
                    <a:srgbClr val="FFFF00"/>
                  </a:highlight>
                  <a:latin typeface="Calibri"/>
                  <a:ea typeface="Calibri"/>
                  <a:cs typeface="Calibri"/>
                  <a:sym typeface="Calibri"/>
                </a:endParaRPr>
              </a:p>
            </p:txBody>
          </p:sp>
        </p:grpSp>
      </p:grpSp>
      <p:sp>
        <p:nvSpPr>
          <p:cNvPr id="47" name="Google Shape;574;p30">
            <a:extLst>
              <a:ext uri="{FF2B5EF4-FFF2-40B4-BE49-F238E27FC236}">
                <a16:creationId xmlns:a16="http://schemas.microsoft.com/office/drawing/2014/main" id="{288B7B49-D940-EE65-AFD5-45D2FC972FEC}"/>
              </a:ext>
            </a:extLst>
          </p:cNvPr>
          <p:cNvSpPr txBox="1">
            <a:spLocks/>
          </p:cNvSpPr>
          <p:nvPr/>
        </p:nvSpPr>
        <p:spPr>
          <a:xfrm>
            <a:off x="4523875" y="3083089"/>
            <a:ext cx="3319094" cy="3171870"/>
          </a:xfrm>
          <a:prstGeom prst="rect">
            <a:avLst/>
          </a:prstGeom>
          <a:noFill/>
          <a:ln>
            <a:noFill/>
          </a:ln>
        </p:spPr>
        <p:txBody>
          <a:bodyPr spcFirstLastPara="1" wrap="square" lIns="0" tIns="0" rIns="0" bIns="0" anchor="t" anchorCtr="0">
            <a:noAutofit/>
          </a:bodyPr>
          <a:lstStyle/>
          <a:p>
            <a:pPr defTabSz="829549">
              <a:lnSpc>
                <a:spcPts val="1633"/>
              </a:lnSpc>
              <a:buSzPct val="100000"/>
            </a:pPr>
            <a:r>
              <a:rPr lang="en-US" sz="1452" b="1" kern="0" dirty="0">
                <a:solidFill>
                  <a:srgbClr val="0F47F2"/>
                </a:solidFill>
                <a:latin typeface="Calibri" panose="020F0502020204030204"/>
                <a:ea typeface="Calibri"/>
                <a:cs typeface="Calibri"/>
                <a:sym typeface="Calibri"/>
              </a:rPr>
              <a:t>Comprehensive Data Collection Strategy</a:t>
            </a:r>
            <a:endParaRPr lang="en-US" sz="1270" b="1" kern="0" dirty="0">
              <a:solidFill>
                <a:srgbClr val="0F47F2"/>
              </a:solidFill>
              <a:latin typeface="Calibri" panose="020F0502020204030204"/>
              <a:ea typeface="Calibri"/>
              <a:cs typeface="Calibri"/>
              <a:sym typeface="Calibri"/>
            </a:endParaRPr>
          </a:p>
          <a:p>
            <a:pPr defTabSz="829549">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Establishing a robust data collection framework and implementing efficient methodologies to gather the required data.</a:t>
            </a:r>
          </a:p>
          <a:p>
            <a:pPr marL="157614" indent="-157614" defTabSz="829549">
              <a:lnSpc>
                <a:spcPts val="1633"/>
              </a:lnSpc>
              <a:buClr>
                <a:srgbClr val="0F47F2"/>
              </a:buClr>
              <a:buSzPct val="100000"/>
              <a:buFont typeface="Wingdings" panose="05000000000000000000" pitchFamily="2" charset="2"/>
              <a:buChar char="§"/>
            </a:pPr>
            <a:endParaRPr lang="en-US" sz="1270" kern="0" dirty="0">
              <a:solidFill>
                <a:srgbClr val="000000"/>
              </a:solidFill>
              <a:latin typeface="Calibri" panose="020F0502020204030204"/>
              <a:ea typeface="Calibri"/>
              <a:cs typeface="Calibri"/>
              <a:sym typeface="Calibri"/>
            </a:endParaRPr>
          </a:p>
          <a:p>
            <a:pPr defTabSz="829549">
              <a:lnSpc>
                <a:spcPts val="1633"/>
              </a:lnSpc>
              <a:buSzPct val="100000"/>
            </a:pPr>
            <a:r>
              <a:rPr lang="en-US" sz="1452" b="1" kern="0" dirty="0">
                <a:solidFill>
                  <a:srgbClr val="0F47F2"/>
                </a:solidFill>
                <a:latin typeface="Calibri" panose="020F0502020204030204"/>
                <a:ea typeface="Calibri"/>
                <a:cs typeface="Calibri"/>
                <a:sym typeface="Calibri"/>
              </a:rPr>
              <a:t>User-Centric Interface Design</a:t>
            </a:r>
          </a:p>
          <a:p>
            <a:pPr defTabSz="829549">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Crafting a user-friendly graphical user interface (GUI) that simplified the data collection process for the client</a:t>
            </a:r>
          </a:p>
          <a:p>
            <a:pPr marL="157614" indent="-157614" defTabSz="829549">
              <a:lnSpc>
                <a:spcPts val="1633"/>
              </a:lnSpc>
              <a:buClr>
                <a:srgbClr val="0F47F2"/>
              </a:buClr>
              <a:buSzPct val="100000"/>
              <a:buFont typeface="Wingdings" panose="05000000000000000000" pitchFamily="2" charset="2"/>
              <a:buChar char="§"/>
            </a:pPr>
            <a:endParaRPr lang="en-US" sz="1452" kern="0" dirty="0">
              <a:solidFill>
                <a:srgbClr val="0F47F2"/>
              </a:solidFill>
              <a:latin typeface="Calibri" panose="020F0502020204030204"/>
              <a:ea typeface="Calibri"/>
              <a:cs typeface="Calibri"/>
              <a:sym typeface="Calibri"/>
            </a:endParaRPr>
          </a:p>
          <a:p>
            <a:pPr defTabSz="829549">
              <a:lnSpc>
                <a:spcPts val="1633"/>
              </a:lnSpc>
              <a:buSzPct val="100000"/>
            </a:pPr>
            <a:r>
              <a:rPr lang="en-US" sz="1452" b="1" kern="0" dirty="0">
                <a:solidFill>
                  <a:srgbClr val="0F47F2"/>
                </a:solidFill>
                <a:latin typeface="Calibri" panose="020F0502020204030204"/>
                <a:ea typeface="Calibri"/>
                <a:cs typeface="Calibri"/>
                <a:sym typeface="Calibri"/>
              </a:rPr>
              <a:t>Data Quality Assurance</a:t>
            </a:r>
          </a:p>
          <a:p>
            <a:pPr defTabSz="829549">
              <a:lnSpc>
                <a:spcPts val="1633"/>
              </a:lnSpc>
              <a:buClr>
                <a:srgbClr val="00B9FF"/>
              </a:buClr>
              <a:buSzPct val="100000"/>
            </a:pPr>
            <a:r>
              <a:rPr lang="en-US" sz="1270" kern="0" dirty="0">
                <a:solidFill>
                  <a:srgbClr val="000000"/>
                </a:solidFill>
                <a:latin typeface="Calibri" panose="020F0502020204030204"/>
                <a:ea typeface="Calibri"/>
                <a:cs typeface="Calibri"/>
                <a:sym typeface="Calibri"/>
              </a:rPr>
              <a:t>Implementing rigorous cleaning and preprocessing techniques to ensure the integrity and reliability of the collected data. </a:t>
            </a:r>
          </a:p>
        </p:txBody>
      </p:sp>
      <p:grpSp>
        <p:nvGrpSpPr>
          <p:cNvPr id="33" name="Group 32">
            <a:extLst>
              <a:ext uri="{FF2B5EF4-FFF2-40B4-BE49-F238E27FC236}">
                <a16:creationId xmlns:a16="http://schemas.microsoft.com/office/drawing/2014/main" id="{BA11EE3D-44AE-4AA2-06D3-819C5D978E6F}"/>
              </a:ext>
            </a:extLst>
          </p:cNvPr>
          <p:cNvGrpSpPr/>
          <p:nvPr/>
        </p:nvGrpSpPr>
        <p:grpSpPr>
          <a:xfrm>
            <a:off x="778545" y="4455237"/>
            <a:ext cx="3279689" cy="787298"/>
            <a:chOff x="803725" y="4920772"/>
            <a:chExt cx="3615439" cy="867896"/>
          </a:xfrm>
        </p:grpSpPr>
        <p:sp>
          <p:nvSpPr>
            <p:cNvPr id="34" name="Google Shape;561;p30">
              <a:extLst>
                <a:ext uri="{FF2B5EF4-FFF2-40B4-BE49-F238E27FC236}">
                  <a16:creationId xmlns:a16="http://schemas.microsoft.com/office/drawing/2014/main" id="{1CD9C9B4-265E-2982-A1E5-282D4D7CD76F}"/>
                </a:ext>
              </a:extLst>
            </p:cNvPr>
            <p:cNvSpPr txBox="1">
              <a:spLocks/>
            </p:cNvSpPr>
            <p:nvPr/>
          </p:nvSpPr>
          <p:spPr>
            <a:xfrm>
              <a:off x="1437182" y="4920772"/>
              <a:ext cx="2981982" cy="867896"/>
            </a:xfrm>
            <a:prstGeom prst="rect">
              <a:avLst/>
            </a:prstGeom>
            <a:noFill/>
            <a:ln>
              <a:noFill/>
            </a:ln>
          </p:spPr>
          <p:txBody>
            <a:bodyPr spcFirstLastPara="1" wrap="square" lIns="0" tIns="0" rIns="0" bIns="0" anchor="t" anchorCtr="0">
              <a:noAutofit/>
            </a:bodyPr>
            <a:lstStyle/>
            <a:p>
              <a:pPr defTabSz="829549">
                <a:lnSpc>
                  <a:spcPts val="1633"/>
                </a:lnSpc>
                <a:buClr>
                  <a:srgbClr val="000000"/>
                </a:buClr>
              </a:pPr>
              <a:r>
                <a:rPr lang="en-US" sz="1270" kern="0" dirty="0">
                  <a:solidFill>
                    <a:srgbClr val="000000"/>
                  </a:solidFill>
                  <a:latin typeface="Calibri" panose="020F0502020204030204"/>
                  <a:ea typeface="Calibri"/>
                  <a:cs typeface="Calibri"/>
                  <a:sym typeface="Calibri"/>
                </a:rPr>
                <a:t>significantly reduce the time and efforts for creating and maintaining inventory records.</a:t>
              </a:r>
            </a:p>
          </p:txBody>
        </p:sp>
        <p:grpSp>
          <p:nvGrpSpPr>
            <p:cNvPr id="180" name="Group 179">
              <a:extLst>
                <a:ext uri="{FF2B5EF4-FFF2-40B4-BE49-F238E27FC236}">
                  <a16:creationId xmlns:a16="http://schemas.microsoft.com/office/drawing/2014/main" id="{7D721D98-2F3D-BE39-4A33-AF7458DDA7DA}"/>
                </a:ext>
              </a:extLst>
            </p:cNvPr>
            <p:cNvGrpSpPr/>
            <p:nvPr/>
          </p:nvGrpSpPr>
          <p:grpSpPr>
            <a:xfrm>
              <a:off x="803725" y="4920772"/>
              <a:ext cx="503992" cy="503992"/>
              <a:chOff x="803725" y="4811208"/>
              <a:chExt cx="503992" cy="503992"/>
            </a:xfrm>
          </p:grpSpPr>
          <p:sp>
            <p:nvSpPr>
              <p:cNvPr id="36" name="Google Shape;554;p30">
                <a:extLst>
                  <a:ext uri="{FF2B5EF4-FFF2-40B4-BE49-F238E27FC236}">
                    <a16:creationId xmlns:a16="http://schemas.microsoft.com/office/drawing/2014/main" id="{AE1A80AB-92C3-FEBF-8029-F670F717BF21}"/>
                  </a:ext>
                </a:extLst>
              </p:cNvPr>
              <p:cNvSpPr/>
              <p:nvPr/>
            </p:nvSpPr>
            <p:spPr>
              <a:xfrm>
                <a:off x="803725" y="4811208"/>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lnSpc>
                    <a:spcPts val="1633"/>
                  </a:lnSpc>
                  <a:buClr>
                    <a:srgbClr val="000000"/>
                  </a:buClr>
                </a:pPr>
                <a:endParaRPr sz="1452" kern="0" dirty="0">
                  <a:solidFill>
                    <a:srgbClr val="FFFFFF"/>
                  </a:solidFill>
                  <a:latin typeface="Calibri" panose="020F0502020204030204"/>
                  <a:ea typeface="Calibri"/>
                  <a:cs typeface="Calibri"/>
                  <a:sym typeface="Calibri"/>
                </a:endParaRPr>
              </a:p>
            </p:txBody>
          </p:sp>
          <p:sp>
            <p:nvSpPr>
              <p:cNvPr id="176" name="Freeform 8">
                <a:extLst>
                  <a:ext uri="{FF2B5EF4-FFF2-40B4-BE49-F238E27FC236}">
                    <a16:creationId xmlns:a16="http://schemas.microsoft.com/office/drawing/2014/main" id="{83AA069D-3D80-73AB-0884-9E5A8379FED1}"/>
                  </a:ext>
                </a:extLst>
              </p:cNvPr>
              <p:cNvSpPr>
                <a:spLocks/>
              </p:cNvSpPr>
              <p:nvPr/>
            </p:nvSpPr>
            <p:spPr bwMode="auto">
              <a:xfrm rot="4742745">
                <a:off x="872239" y="4916586"/>
                <a:ext cx="376479" cy="259422"/>
              </a:xfrm>
              <a:custGeom>
                <a:avLst/>
                <a:gdLst/>
                <a:ahLst/>
                <a:cxnLst>
                  <a:cxn ang="0">
                    <a:pos x="12" y="486"/>
                  </a:cxn>
                  <a:cxn ang="0">
                    <a:pos x="36" y="474"/>
                  </a:cxn>
                  <a:cxn ang="0">
                    <a:pos x="78" y="462"/>
                  </a:cxn>
                  <a:cxn ang="0">
                    <a:pos x="114" y="444"/>
                  </a:cxn>
                  <a:cxn ang="0">
                    <a:pos x="180" y="396"/>
                  </a:cxn>
                  <a:cxn ang="0">
                    <a:pos x="204" y="354"/>
                  </a:cxn>
                  <a:cxn ang="0">
                    <a:pos x="210" y="324"/>
                  </a:cxn>
                  <a:cxn ang="0">
                    <a:pos x="198" y="312"/>
                  </a:cxn>
                  <a:cxn ang="0">
                    <a:pos x="204" y="276"/>
                  </a:cxn>
                  <a:cxn ang="0">
                    <a:pos x="210" y="258"/>
                  </a:cxn>
                  <a:cxn ang="0">
                    <a:pos x="234" y="222"/>
                  </a:cxn>
                  <a:cxn ang="0">
                    <a:pos x="240" y="204"/>
                  </a:cxn>
                  <a:cxn ang="0">
                    <a:pos x="252" y="186"/>
                  </a:cxn>
                  <a:cxn ang="0">
                    <a:pos x="270" y="174"/>
                  </a:cxn>
                  <a:cxn ang="0">
                    <a:pos x="282" y="162"/>
                  </a:cxn>
                  <a:cxn ang="0">
                    <a:pos x="312" y="144"/>
                  </a:cxn>
                  <a:cxn ang="0">
                    <a:pos x="342" y="132"/>
                  </a:cxn>
                  <a:cxn ang="0">
                    <a:pos x="360" y="126"/>
                  </a:cxn>
                  <a:cxn ang="0">
                    <a:pos x="384" y="108"/>
                  </a:cxn>
                  <a:cxn ang="0">
                    <a:pos x="396" y="90"/>
                  </a:cxn>
                  <a:cxn ang="0">
                    <a:pos x="414" y="48"/>
                  </a:cxn>
                  <a:cxn ang="0">
                    <a:pos x="438" y="6"/>
                  </a:cxn>
                  <a:cxn ang="0">
                    <a:pos x="456" y="0"/>
                  </a:cxn>
                  <a:cxn ang="0">
                    <a:pos x="468" y="12"/>
                  </a:cxn>
                  <a:cxn ang="0">
                    <a:pos x="480" y="30"/>
                  </a:cxn>
                  <a:cxn ang="0">
                    <a:pos x="504" y="42"/>
                  </a:cxn>
                  <a:cxn ang="0">
                    <a:pos x="546" y="42"/>
                  </a:cxn>
                  <a:cxn ang="0">
                    <a:pos x="570" y="42"/>
                  </a:cxn>
                  <a:cxn ang="0">
                    <a:pos x="594" y="36"/>
                  </a:cxn>
                  <a:cxn ang="0">
                    <a:pos x="606" y="36"/>
                  </a:cxn>
                  <a:cxn ang="0">
                    <a:pos x="618" y="48"/>
                  </a:cxn>
                  <a:cxn ang="0">
                    <a:pos x="642" y="48"/>
                  </a:cxn>
                  <a:cxn ang="0">
                    <a:pos x="660" y="60"/>
                  </a:cxn>
                  <a:cxn ang="0">
                    <a:pos x="672" y="72"/>
                  </a:cxn>
                  <a:cxn ang="0">
                    <a:pos x="666" y="90"/>
                  </a:cxn>
                  <a:cxn ang="0">
                    <a:pos x="672" y="132"/>
                  </a:cxn>
                  <a:cxn ang="0">
                    <a:pos x="678" y="156"/>
                  </a:cxn>
                  <a:cxn ang="0">
                    <a:pos x="684" y="180"/>
                  </a:cxn>
                  <a:cxn ang="0">
                    <a:pos x="708" y="210"/>
                  </a:cxn>
                  <a:cxn ang="0">
                    <a:pos x="702" y="216"/>
                  </a:cxn>
                  <a:cxn ang="0">
                    <a:pos x="702" y="228"/>
                  </a:cxn>
                  <a:cxn ang="0">
                    <a:pos x="666" y="228"/>
                  </a:cxn>
                  <a:cxn ang="0">
                    <a:pos x="606" y="228"/>
                  </a:cxn>
                  <a:cxn ang="0">
                    <a:pos x="606" y="246"/>
                  </a:cxn>
                  <a:cxn ang="0">
                    <a:pos x="558" y="264"/>
                  </a:cxn>
                  <a:cxn ang="0">
                    <a:pos x="552" y="282"/>
                  </a:cxn>
                  <a:cxn ang="0">
                    <a:pos x="564" y="294"/>
                  </a:cxn>
                  <a:cxn ang="0">
                    <a:pos x="552" y="300"/>
                  </a:cxn>
                  <a:cxn ang="0">
                    <a:pos x="528" y="312"/>
                  </a:cxn>
                  <a:cxn ang="0">
                    <a:pos x="492" y="318"/>
                  </a:cxn>
                  <a:cxn ang="0">
                    <a:pos x="474" y="354"/>
                  </a:cxn>
                  <a:cxn ang="0">
                    <a:pos x="432" y="366"/>
                  </a:cxn>
                  <a:cxn ang="0">
                    <a:pos x="396" y="372"/>
                  </a:cxn>
                  <a:cxn ang="0">
                    <a:pos x="378" y="378"/>
                  </a:cxn>
                  <a:cxn ang="0">
                    <a:pos x="348" y="378"/>
                  </a:cxn>
                  <a:cxn ang="0">
                    <a:pos x="324" y="396"/>
                  </a:cxn>
                  <a:cxn ang="0">
                    <a:pos x="300" y="414"/>
                  </a:cxn>
                  <a:cxn ang="0">
                    <a:pos x="264" y="432"/>
                  </a:cxn>
                </a:cxnLst>
                <a:rect l="0" t="0" r="r" b="b"/>
                <a:pathLst>
                  <a:path w="714" h="492">
                    <a:moveTo>
                      <a:pt x="0" y="492"/>
                    </a:moveTo>
                    <a:lnTo>
                      <a:pt x="6" y="492"/>
                    </a:lnTo>
                    <a:lnTo>
                      <a:pt x="12" y="486"/>
                    </a:lnTo>
                    <a:lnTo>
                      <a:pt x="18" y="480"/>
                    </a:lnTo>
                    <a:lnTo>
                      <a:pt x="18" y="474"/>
                    </a:lnTo>
                    <a:lnTo>
                      <a:pt x="36" y="474"/>
                    </a:lnTo>
                    <a:lnTo>
                      <a:pt x="60" y="468"/>
                    </a:lnTo>
                    <a:lnTo>
                      <a:pt x="66" y="468"/>
                    </a:lnTo>
                    <a:lnTo>
                      <a:pt x="78" y="462"/>
                    </a:lnTo>
                    <a:lnTo>
                      <a:pt x="102" y="456"/>
                    </a:lnTo>
                    <a:lnTo>
                      <a:pt x="102" y="450"/>
                    </a:lnTo>
                    <a:lnTo>
                      <a:pt x="114" y="444"/>
                    </a:lnTo>
                    <a:lnTo>
                      <a:pt x="126" y="432"/>
                    </a:lnTo>
                    <a:lnTo>
                      <a:pt x="156" y="414"/>
                    </a:lnTo>
                    <a:lnTo>
                      <a:pt x="180" y="396"/>
                    </a:lnTo>
                    <a:lnTo>
                      <a:pt x="192" y="372"/>
                    </a:lnTo>
                    <a:lnTo>
                      <a:pt x="204" y="360"/>
                    </a:lnTo>
                    <a:lnTo>
                      <a:pt x="204" y="354"/>
                    </a:lnTo>
                    <a:lnTo>
                      <a:pt x="210" y="342"/>
                    </a:lnTo>
                    <a:lnTo>
                      <a:pt x="216" y="330"/>
                    </a:lnTo>
                    <a:lnTo>
                      <a:pt x="210" y="324"/>
                    </a:lnTo>
                    <a:lnTo>
                      <a:pt x="204" y="318"/>
                    </a:lnTo>
                    <a:lnTo>
                      <a:pt x="198" y="318"/>
                    </a:lnTo>
                    <a:lnTo>
                      <a:pt x="198" y="312"/>
                    </a:lnTo>
                    <a:lnTo>
                      <a:pt x="204" y="306"/>
                    </a:lnTo>
                    <a:lnTo>
                      <a:pt x="198" y="288"/>
                    </a:lnTo>
                    <a:lnTo>
                      <a:pt x="204" y="276"/>
                    </a:lnTo>
                    <a:lnTo>
                      <a:pt x="198" y="270"/>
                    </a:lnTo>
                    <a:lnTo>
                      <a:pt x="204" y="264"/>
                    </a:lnTo>
                    <a:lnTo>
                      <a:pt x="210" y="258"/>
                    </a:lnTo>
                    <a:lnTo>
                      <a:pt x="210" y="252"/>
                    </a:lnTo>
                    <a:lnTo>
                      <a:pt x="228" y="234"/>
                    </a:lnTo>
                    <a:lnTo>
                      <a:pt x="234" y="222"/>
                    </a:lnTo>
                    <a:lnTo>
                      <a:pt x="234" y="216"/>
                    </a:lnTo>
                    <a:lnTo>
                      <a:pt x="234" y="210"/>
                    </a:lnTo>
                    <a:lnTo>
                      <a:pt x="240" y="204"/>
                    </a:lnTo>
                    <a:lnTo>
                      <a:pt x="234" y="204"/>
                    </a:lnTo>
                    <a:lnTo>
                      <a:pt x="246" y="198"/>
                    </a:lnTo>
                    <a:lnTo>
                      <a:pt x="252" y="186"/>
                    </a:lnTo>
                    <a:lnTo>
                      <a:pt x="258" y="186"/>
                    </a:lnTo>
                    <a:lnTo>
                      <a:pt x="264" y="180"/>
                    </a:lnTo>
                    <a:lnTo>
                      <a:pt x="270" y="174"/>
                    </a:lnTo>
                    <a:lnTo>
                      <a:pt x="276" y="168"/>
                    </a:lnTo>
                    <a:lnTo>
                      <a:pt x="276" y="162"/>
                    </a:lnTo>
                    <a:lnTo>
                      <a:pt x="282" y="162"/>
                    </a:lnTo>
                    <a:lnTo>
                      <a:pt x="288" y="156"/>
                    </a:lnTo>
                    <a:lnTo>
                      <a:pt x="294" y="150"/>
                    </a:lnTo>
                    <a:lnTo>
                      <a:pt x="312" y="144"/>
                    </a:lnTo>
                    <a:lnTo>
                      <a:pt x="330" y="138"/>
                    </a:lnTo>
                    <a:lnTo>
                      <a:pt x="336" y="138"/>
                    </a:lnTo>
                    <a:lnTo>
                      <a:pt x="342" y="132"/>
                    </a:lnTo>
                    <a:lnTo>
                      <a:pt x="348" y="132"/>
                    </a:lnTo>
                    <a:lnTo>
                      <a:pt x="354" y="126"/>
                    </a:lnTo>
                    <a:lnTo>
                      <a:pt x="360" y="126"/>
                    </a:lnTo>
                    <a:lnTo>
                      <a:pt x="366" y="120"/>
                    </a:lnTo>
                    <a:lnTo>
                      <a:pt x="378" y="114"/>
                    </a:lnTo>
                    <a:lnTo>
                      <a:pt x="384" y="108"/>
                    </a:lnTo>
                    <a:lnTo>
                      <a:pt x="390" y="102"/>
                    </a:lnTo>
                    <a:lnTo>
                      <a:pt x="390" y="96"/>
                    </a:lnTo>
                    <a:lnTo>
                      <a:pt x="396" y="90"/>
                    </a:lnTo>
                    <a:lnTo>
                      <a:pt x="402" y="84"/>
                    </a:lnTo>
                    <a:lnTo>
                      <a:pt x="408" y="60"/>
                    </a:lnTo>
                    <a:lnTo>
                      <a:pt x="414" y="48"/>
                    </a:lnTo>
                    <a:lnTo>
                      <a:pt x="420" y="42"/>
                    </a:lnTo>
                    <a:lnTo>
                      <a:pt x="432" y="6"/>
                    </a:lnTo>
                    <a:lnTo>
                      <a:pt x="438" y="6"/>
                    </a:lnTo>
                    <a:lnTo>
                      <a:pt x="444" y="6"/>
                    </a:lnTo>
                    <a:lnTo>
                      <a:pt x="450" y="6"/>
                    </a:lnTo>
                    <a:lnTo>
                      <a:pt x="456" y="0"/>
                    </a:lnTo>
                    <a:lnTo>
                      <a:pt x="462" y="0"/>
                    </a:lnTo>
                    <a:lnTo>
                      <a:pt x="468" y="6"/>
                    </a:lnTo>
                    <a:lnTo>
                      <a:pt x="468" y="12"/>
                    </a:lnTo>
                    <a:lnTo>
                      <a:pt x="468" y="24"/>
                    </a:lnTo>
                    <a:lnTo>
                      <a:pt x="474" y="24"/>
                    </a:lnTo>
                    <a:lnTo>
                      <a:pt x="480" y="30"/>
                    </a:lnTo>
                    <a:lnTo>
                      <a:pt x="492" y="36"/>
                    </a:lnTo>
                    <a:lnTo>
                      <a:pt x="498" y="42"/>
                    </a:lnTo>
                    <a:lnTo>
                      <a:pt x="504" y="42"/>
                    </a:lnTo>
                    <a:lnTo>
                      <a:pt x="522" y="48"/>
                    </a:lnTo>
                    <a:lnTo>
                      <a:pt x="540" y="42"/>
                    </a:lnTo>
                    <a:lnTo>
                      <a:pt x="546" y="42"/>
                    </a:lnTo>
                    <a:lnTo>
                      <a:pt x="552" y="42"/>
                    </a:lnTo>
                    <a:lnTo>
                      <a:pt x="558" y="36"/>
                    </a:lnTo>
                    <a:lnTo>
                      <a:pt x="570" y="42"/>
                    </a:lnTo>
                    <a:lnTo>
                      <a:pt x="582" y="42"/>
                    </a:lnTo>
                    <a:lnTo>
                      <a:pt x="588" y="42"/>
                    </a:lnTo>
                    <a:lnTo>
                      <a:pt x="594" y="36"/>
                    </a:lnTo>
                    <a:lnTo>
                      <a:pt x="600" y="30"/>
                    </a:lnTo>
                    <a:lnTo>
                      <a:pt x="600" y="36"/>
                    </a:lnTo>
                    <a:lnTo>
                      <a:pt x="606" y="36"/>
                    </a:lnTo>
                    <a:lnTo>
                      <a:pt x="606" y="42"/>
                    </a:lnTo>
                    <a:lnTo>
                      <a:pt x="612" y="48"/>
                    </a:lnTo>
                    <a:lnTo>
                      <a:pt x="618" y="48"/>
                    </a:lnTo>
                    <a:lnTo>
                      <a:pt x="624" y="48"/>
                    </a:lnTo>
                    <a:lnTo>
                      <a:pt x="630" y="48"/>
                    </a:lnTo>
                    <a:lnTo>
                      <a:pt x="642" y="48"/>
                    </a:lnTo>
                    <a:lnTo>
                      <a:pt x="642" y="54"/>
                    </a:lnTo>
                    <a:lnTo>
                      <a:pt x="654" y="60"/>
                    </a:lnTo>
                    <a:lnTo>
                      <a:pt x="660" y="60"/>
                    </a:lnTo>
                    <a:lnTo>
                      <a:pt x="660" y="66"/>
                    </a:lnTo>
                    <a:lnTo>
                      <a:pt x="666" y="66"/>
                    </a:lnTo>
                    <a:lnTo>
                      <a:pt x="672" y="72"/>
                    </a:lnTo>
                    <a:lnTo>
                      <a:pt x="666" y="78"/>
                    </a:lnTo>
                    <a:lnTo>
                      <a:pt x="672" y="84"/>
                    </a:lnTo>
                    <a:lnTo>
                      <a:pt x="666" y="90"/>
                    </a:lnTo>
                    <a:lnTo>
                      <a:pt x="678" y="108"/>
                    </a:lnTo>
                    <a:lnTo>
                      <a:pt x="672" y="126"/>
                    </a:lnTo>
                    <a:lnTo>
                      <a:pt x="672" y="132"/>
                    </a:lnTo>
                    <a:lnTo>
                      <a:pt x="678" y="138"/>
                    </a:lnTo>
                    <a:lnTo>
                      <a:pt x="678" y="144"/>
                    </a:lnTo>
                    <a:lnTo>
                      <a:pt x="678" y="156"/>
                    </a:lnTo>
                    <a:lnTo>
                      <a:pt x="678" y="162"/>
                    </a:lnTo>
                    <a:lnTo>
                      <a:pt x="684" y="174"/>
                    </a:lnTo>
                    <a:lnTo>
                      <a:pt x="684" y="180"/>
                    </a:lnTo>
                    <a:lnTo>
                      <a:pt x="690" y="192"/>
                    </a:lnTo>
                    <a:lnTo>
                      <a:pt x="714" y="204"/>
                    </a:lnTo>
                    <a:lnTo>
                      <a:pt x="708" y="210"/>
                    </a:lnTo>
                    <a:lnTo>
                      <a:pt x="702" y="210"/>
                    </a:lnTo>
                    <a:lnTo>
                      <a:pt x="696" y="216"/>
                    </a:lnTo>
                    <a:lnTo>
                      <a:pt x="702" y="216"/>
                    </a:lnTo>
                    <a:lnTo>
                      <a:pt x="696" y="222"/>
                    </a:lnTo>
                    <a:lnTo>
                      <a:pt x="702" y="222"/>
                    </a:lnTo>
                    <a:lnTo>
                      <a:pt x="702" y="228"/>
                    </a:lnTo>
                    <a:lnTo>
                      <a:pt x="696" y="228"/>
                    </a:lnTo>
                    <a:lnTo>
                      <a:pt x="684" y="228"/>
                    </a:lnTo>
                    <a:lnTo>
                      <a:pt x="666" y="228"/>
                    </a:lnTo>
                    <a:lnTo>
                      <a:pt x="636" y="222"/>
                    </a:lnTo>
                    <a:lnTo>
                      <a:pt x="612" y="228"/>
                    </a:lnTo>
                    <a:lnTo>
                      <a:pt x="606" y="228"/>
                    </a:lnTo>
                    <a:lnTo>
                      <a:pt x="600" y="234"/>
                    </a:lnTo>
                    <a:lnTo>
                      <a:pt x="606" y="240"/>
                    </a:lnTo>
                    <a:lnTo>
                      <a:pt x="606" y="246"/>
                    </a:lnTo>
                    <a:lnTo>
                      <a:pt x="606" y="252"/>
                    </a:lnTo>
                    <a:lnTo>
                      <a:pt x="558" y="258"/>
                    </a:lnTo>
                    <a:lnTo>
                      <a:pt x="558" y="264"/>
                    </a:lnTo>
                    <a:lnTo>
                      <a:pt x="558" y="270"/>
                    </a:lnTo>
                    <a:lnTo>
                      <a:pt x="552" y="276"/>
                    </a:lnTo>
                    <a:lnTo>
                      <a:pt x="552" y="282"/>
                    </a:lnTo>
                    <a:lnTo>
                      <a:pt x="552" y="288"/>
                    </a:lnTo>
                    <a:lnTo>
                      <a:pt x="558" y="288"/>
                    </a:lnTo>
                    <a:lnTo>
                      <a:pt x="564" y="294"/>
                    </a:lnTo>
                    <a:lnTo>
                      <a:pt x="564" y="300"/>
                    </a:lnTo>
                    <a:lnTo>
                      <a:pt x="558" y="300"/>
                    </a:lnTo>
                    <a:lnTo>
                      <a:pt x="552" y="300"/>
                    </a:lnTo>
                    <a:lnTo>
                      <a:pt x="546" y="300"/>
                    </a:lnTo>
                    <a:lnTo>
                      <a:pt x="534" y="306"/>
                    </a:lnTo>
                    <a:lnTo>
                      <a:pt x="528" y="312"/>
                    </a:lnTo>
                    <a:lnTo>
                      <a:pt x="516" y="312"/>
                    </a:lnTo>
                    <a:lnTo>
                      <a:pt x="498" y="312"/>
                    </a:lnTo>
                    <a:lnTo>
                      <a:pt x="492" y="318"/>
                    </a:lnTo>
                    <a:lnTo>
                      <a:pt x="480" y="336"/>
                    </a:lnTo>
                    <a:lnTo>
                      <a:pt x="480" y="342"/>
                    </a:lnTo>
                    <a:lnTo>
                      <a:pt x="474" y="354"/>
                    </a:lnTo>
                    <a:lnTo>
                      <a:pt x="450" y="366"/>
                    </a:lnTo>
                    <a:lnTo>
                      <a:pt x="438" y="366"/>
                    </a:lnTo>
                    <a:lnTo>
                      <a:pt x="432" y="366"/>
                    </a:lnTo>
                    <a:lnTo>
                      <a:pt x="420" y="372"/>
                    </a:lnTo>
                    <a:lnTo>
                      <a:pt x="402" y="372"/>
                    </a:lnTo>
                    <a:lnTo>
                      <a:pt x="396" y="372"/>
                    </a:lnTo>
                    <a:lnTo>
                      <a:pt x="390" y="378"/>
                    </a:lnTo>
                    <a:lnTo>
                      <a:pt x="384" y="378"/>
                    </a:lnTo>
                    <a:lnTo>
                      <a:pt x="378" y="378"/>
                    </a:lnTo>
                    <a:lnTo>
                      <a:pt x="366" y="378"/>
                    </a:lnTo>
                    <a:lnTo>
                      <a:pt x="360" y="378"/>
                    </a:lnTo>
                    <a:lnTo>
                      <a:pt x="348" y="378"/>
                    </a:lnTo>
                    <a:lnTo>
                      <a:pt x="336" y="390"/>
                    </a:lnTo>
                    <a:lnTo>
                      <a:pt x="324" y="390"/>
                    </a:lnTo>
                    <a:lnTo>
                      <a:pt x="324" y="396"/>
                    </a:lnTo>
                    <a:lnTo>
                      <a:pt x="318" y="396"/>
                    </a:lnTo>
                    <a:lnTo>
                      <a:pt x="306" y="408"/>
                    </a:lnTo>
                    <a:lnTo>
                      <a:pt x="300" y="414"/>
                    </a:lnTo>
                    <a:lnTo>
                      <a:pt x="282" y="420"/>
                    </a:lnTo>
                    <a:lnTo>
                      <a:pt x="282" y="426"/>
                    </a:lnTo>
                    <a:lnTo>
                      <a:pt x="264" y="432"/>
                    </a:lnTo>
                    <a:lnTo>
                      <a:pt x="264" y="492"/>
                    </a:lnTo>
                    <a:lnTo>
                      <a:pt x="0" y="492"/>
                    </a:lnTo>
                    <a:close/>
                  </a:path>
                </a:pathLst>
              </a:custGeom>
              <a:noFill/>
              <a:ln w="6350" cmpd="sng">
                <a:solidFill>
                  <a:schemeClr val="bg1"/>
                </a:solidFill>
                <a:round/>
                <a:headEnd/>
                <a:tailEnd/>
              </a:ln>
              <a:effectLst/>
            </p:spPr>
            <p:txBody>
              <a:bodyPr vert="horz" wrap="square" lIns="91435" tIns="45718" rIns="91435" bIns="45718" numCol="1" anchor="t" anchorCtr="0" compatLnSpc="1">
                <a:prstTxWarp prst="textNoShape">
                  <a:avLst/>
                </a:prstTxWarp>
              </a:bodyPr>
              <a:lstStyle/>
              <a:p>
                <a:pPr defTabSz="829549">
                  <a:lnSpc>
                    <a:spcPts val="1633"/>
                  </a:lnSpc>
                  <a:buClr>
                    <a:srgbClr val="000000"/>
                  </a:buClr>
                </a:pPr>
                <a:endParaRPr lang="en-US" sz="1452" kern="0">
                  <a:solidFill>
                    <a:srgbClr val="000000"/>
                  </a:solidFill>
                  <a:latin typeface="Calibri" panose="020F0502020204030204"/>
                  <a:cs typeface="Arial"/>
                  <a:sym typeface="Arial"/>
                </a:endParaRPr>
              </a:p>
            </p:txBody>
          </p:sp>
        </p:grpSp>
      </p:grpSp>
      <p:grpSp>
        <p:nvGrpSpPr>
          <p:cNvPr id="32" name="Group 31">
            <a:extLst>
              <a:ext uri="{FF2B5EF4-FFF2-40B4-BE49-F238E27FC236}">
                <a16:creationId xmlns:a16="http://schemas.microsoft.com/office/drawing/2014/main" id="{36574DEA-07CE-36EC-9630-8524FD110C2E}"/>
              </a:ext>
            </a:extLst>
          </p:cNvPr>
          <p:cNvGrpSpPr/>
          <p:nvPr/>
        </p:nvGrpSpPr>
        <p:grpSpPr>
          <a:xfrm>
            <a:off x="778545" y="5424563"/>
            <a:ext cx="3097443" cy="710269"/>
            <a:chOff x="803725" y="5928056"/>
            <a:chExt cx="3414536" cy="782980"/>
          </a:xfrm>
        </p:grpSpPr>
        <p:sp>
          <p:nvSpPr>
            <p:cNvPr id="39" name="Google Shape;562;p30">
              <a:extLst>
                <a:ext uri="{FF2B5EF4-FFF2-40B4-BE49-F238E27FC236}">
                  <a16:creationId xmlns:a16="http://schemas.microsoft.com/office/drawing/2014/main" id="{2A7013BA-0A2D-A4DA-82DC-24805E241672}"/>
                </a:ext>
              </a:extLst>
            </p:cNvPr>
            <p:cNvSpPr txBox="1"/>
            <p:nvPr/>
          </p:nvSpPr>
          <p:spPr>
            <a:xfrm>
              <a:off x="1437182" y="5928056"/>
              <a:ext cx="2781079" cy="782980"/>
            </a:xfrm>
            <a:prstGeom prst="rect">
              <a:avLst/>
            </a:prstGeom>
            <a:noFill/>
            <a:ln>
              <a:noFill/>
            </a:ln>
          </p:spPr>
          <p:txBody>
            <a:bodyPr spcFirstLastPara="1" vert="horz" wrap="square" lIns="0" tIns="0" rIns="0" bIns="0" anchor="t" anchorCtr="0">
              <a:noAutofit/>
            </a:bodyPr>
            <a:lstStyle/>
            <a:p>
              <a:pPr defTabSz="829549">
                <a:lnSpc>
                  <a:spcPts val="1633"/>
                </a:lnSpc>
                <a:buClr>
                  <a:srgbClr val="000000"/>
                </a:buClr>
              </a:pPr>
              <a:r>
                <a:rPr lang="en-US" sz="1270" kern="0" dirty="0">
                  <a:solidFill>
                    <a:srgbClr val="000000"/>
                  </a:solidFill>
                  <a:latin typeface="Calibri" panose="020F0502020204030204"/>
                  <a:ea typeface="Calibri"/>
                  <a:cs typeface="Calibri"/>
                  <a:sym typeface="Calibri"/>
                </a:rPr>
                <a:t>ensuring that inventory data is accurate and synchronized with finance systems. </a:t>
              </a:r>
            </a:p>
          </p:txBody>
        </p:sp>
        <p:grpSp>
          <p:nvGrpSpPr>
            <p:cNvPr id="179" name="Group 178">
              <a:extLst>
                <a:ext uri="{FF2B5EF4-FFF2-40B4-BE49-F238E27FC236}">
                  <a16:creationId xmlns:a16="http://schemas.microsoft.com/office/drawing/2014/main" id="{C46A55DE-BCF2-04E6-05C7-2EE14B93F4E0}"/>
                </a:ext>
              </a:extLst>
            </p:cNvPr>
            <p:cNvGrpSpPr/>
            <p:nvPr/>
          </p:nvGrpSpPr>
          <p:grpSpPr>
            <a:xfrm>
              <a:off x="803725" y="5928057"/>
              <a:ext cx="503992" cy="503992"/>
              <a:chOff x="803725" y="5691182"/>
              <a:chExt cx="503992" cy="503992"/>
            </a:xfrm>
          </p:grpSpPr>
          <p:sp>
            <p:nvSpPr>
              <p:cNvPr id="41" name="Google Shape;557;p30">
                <a:extLst>
                  <a:ext uri="{FF2B5EF4-FFF2-40B4-BE49-F238E27FC236}">
                    <a16:creationId xmlns:a16="http://schemas.microsoft.com/office/drawing/2014/main" id="{A8CAE4E5-54A4-E896-179A-92FB21D23C82}"/>
                  </a:ext>
                </a:extLst>
              </p:cNvPr>
              <p:cNvSpPr/>
              <p:nvPr/>
            </p:nvSpPr>
            <p:spPr>
              <a:xfrm>
                <a:off x="803725" y="5691182"/>
                <a:ext cx="503992" cy="503992"/>
              </a:xfrm>
              <a:prstGeom prst="ellipse">
                <a:avLst/>
              </a:prstGeom>
              <a:solidFill>
                <a:schemeClr val="accent1"/>
              </a:solidFill>
              <a:ln w="12700" cap="flat" cmpd="sng">
                <a:noFill/>
                <a:prstDash val="solid"/>
                <a:miter lim="800000"/>
                <a:headEnd type="none" w="sm" len="sm"/>
                <a:tailEnd type="none" w="sm" len="sm"/>
              </a:ln>
            </p:spPr>
            <p:txBody>
              <a:bodyPr spcFirstLastPara="1" wrap="square" lIns="91422" tIns="45697" rIns="91422" bIns="45697" anchor="ctr" anchorCtr="0">
                <a:noAutofit/>
              </a:bodyPr>
              <a:lstStyle/>
              <a:p>
                <a:pPr algn="ctr" defTabSz="829549">
                  <a:lnSpc>
                    <a:spcPts val="1633"/>
                  </a:lnSpc>
                  <a:buClr>
                    <a:srgbClr val="000000"/>
                  </a:buClr>
                </a:pPr>
                <a:endParaRPr sz="1452" kern="0">
                  <a:solidFill>
                    <a:srgbClr val="FFFFFF"/>
                  </a:solidFill>
                  <a:latin typeface="Calibri" panose="020F0502020204030204"/>
                  <a:ea typeface="Calibri"/>
                  <a:cs typeface="Calibri"/>
                  <a:sym typeface="Calibri"/>
                </a:endParaRPr>
              </a:p>
            </p:txBody>
          </p:sp>
          <p:pic>
            <p:nvPicPr>
              <p:cNvPr id="178" name="Graphic 177">
                <a:extLst>
                  <a:ext uri="{FF2B5EF4-FFF2-40B4-BE49-F238E27FC236}">
                    <a16:creationId xmlns:a16="http://schemas.microsoft.com/office/drawing/2014/main" id="{08B11E22-383D-60DA-111A-706DDE30D1D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6475" y="5805420"/>
                <a:ext cx="338492" cy="275516"/>
              </a:xfrm>
              <a:prstGeom prst="rect">
                <a:avLst/>
              </a:prstGeom>
            </p:spPr>
          </p:pic>
        </p:grpSp>
      </p:grpSp>
      <p:sp>
        <p:nvSpPr>
          <p:cNvPr id="2" name="Google Shape;541;p30">
            <a:extLst>
              <a:ext uri="{FF2B5EF4-FFF2-40B4-BE49-F238E27FC236}">
                <a16:creationId xmlns:a16="http://schemas.microsoft.com/office/drawing/2014/main" id="{70B35DA0-55F3-97D3-61F0-F24C0C1B7488}"/>
              </a:ext>
            </a:extLst>
          </p:cNvPr>
          <p:cNvSpPr txBox="1"/>
          <p:nvPr/>
        </p:nvSpPr>
        <p:spPr>
          <a:xfrm>
            <a:off x="8998176" y="1901105"/>
            <a:ext cx="1710080" cy="284758"/>
          </a:xfrm>
          <a:prstGeom prst="rect">
            <a:avLst/>
          </a:prstGeom>
          <a:noFill/>
          <a:ln>
            <a:noFill/>
          </a:ln>
        </p:spPr>
        <p:txBody>
          <a:bodyPr spcFirstLastPara="1" wrap="square" lIns="0" tIns="0" rIns="0" bIns="0" anchor="t" anchorCtr="0">
            <a:spAutoFit/>
          </a:bodyPr>
          <a:lstStyle/>
          <a:p>
            <a:pPr algn="ctr" defTabSz="829549">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tcome</a:t>
            </a:r>
            <a:endParaRPr sz="2177" b="1" kern="0" dirty="0">
              <a:solidFill>
                <a:srgbClr val="000000"/>
              </a:solidFill>
              <a:latin typeface="Calibri" panose="020F0502020204030204"/>
              <a:cs typeface="Arial"/>
              <a:sym typeface="Arial"/>
            </a:endParaRPr>
          </a:p>
        </p:txBody>
      </p:sp>
      <p:sp>
        <p:nvSpPr>
          <p:cNvPr id="3" name="Google Shape;546;p30">
            <a:extLst>
              <a:ext uri="{FF2B5EF4-FFF2-40B4-BE49-F238E27FC236}">
                <a16:creationId xmlns:a16="http://schemas.microsoft.com/office/drawing/2014/main" id="{926F6433-AADB-48C1-48E3-3991E5BEA5CA}"/>
              </a:ext>
            </a:extLst>
          </p:cNvPr>
          <p:cNvSpPr txBox="1"/>
          <p:nvPr/>
        </p:nvSpPr>
        <p:spPr>
          <a:xfrm>
            <a:off x="1218521" y="1901105"/>
            <a:ext cx="2217491" cy="284758"/>
          </a:xfrm>
          <a:prstGeom prst="rect">
            <a:avLst/>
          </a:prstGeom>
          <a:noFill/>
          <a:ln>
            <a:noFill/>
          </a:ln>
        </p:spPr>
        <p:txBody>
          <a:bodyPr spcFirstLastPara="1" wrap="square" lIns="0" tIns="0" rIns="0" bIns="0" anchor="t" anchorCtr="0">
            <a:spAutoFit/>
          </a:bodyPr>
          <a:lstStyle/>
          <a:p>
            <a:pPr algn="ctr" defTabSz="829549">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Client Challenge</a:t>
            </a:r>
            <a:endParaRPr sz="2177" b="1" kern="0" dirty="0">
              <a:solidFill>
                <a:srgbClr val="000000"/>
              </a:solidFill>
              <a:latin typeface="Calibri" panose="020F0502020204030204"/>
              <a:cs typeface="Arial"/>
              <a:sym typeface="Arial"/>
            </a:endParaRPr>
          </a:p>
        </p:txBody>
      </p:sp>
      <p:sp>
        <p:nvSpPr>
          <p:cNvPr id="31" name="Google Shape;567;p30">
            <a:extLst>
              <a:ext uri="{FF2B5EF4-FFF2-40B4-BE49-F238E27FC236}">
                <a16:creationId xmlns:a16="http://schemas.microsoft.com/office/drawing/2014/main" id="{93FF24BB-A9B2-328E-48EA-F20777E72020}"/>
              </a:ext>
            </a:extLst>
          </p:cNvPr>
          <p:cNvSpPr txBox="1"/>
          <p:nvPr/>
        </p:nvSpPr>
        <p:spPr>
          <a:xfrm>
            <a:off x="5210256" y="1901105"/>
            <a:ext cx="1759969" cy="284758"/>
          </a:xfrm>
          <a:prstGeom prst="rect">
            <a:avLst/>
          </a:prstGeom>
          <a:noFill/>
          <a:ln>
            <a:noFill/>
          </a:ln>
        </p:spPr>
        <p:txBody>
          <a:bodyPr spcFirstLastPara="1" wrap="square" lIns="0" tIns="0" rIns="0" bIns="0" anchor="t" anchorCtr="0">
            <a:spAutoFit/>
          </a:bodyPr>
          <a:lstStyle/>
          <a:p>
            <a:pPr algn="ctr" defTabSz="829549">
              <a:lnSpc>
                <a:spcPct val="85000"/>
              </a:lnSpc>
              <a:buClr>
                <a:srgbClr val="000000"/>
              </a:buClr>
            </a:pPr>
            <a:r>
              <a:rPr lang="en-IN" sz="2177" b="1" kern="0" dirty="0">
                <a:solidFill>
                  <a:srgbClr val="FFFFFF"/>
                </a:solidFill>
                <a:latin typeface="Calibri" panose="020F0502020204030204"/>
                <a:ea typeface="Franklin Gothic"/>
                <a:cs typeface="Franklin Gothic"/>
                <a:sym typeface="Franklin Gothic"/>
              </a:rPr>
              <a:t>Our Solution</a:t>
            </a:r>
            <a:endParaRPr sz="2177" b="1" kern="0" dirty="0">
              <a:solidFill>
                <a:srgbClr val="000000"/>
              </a:solidFill>
              <a:latin typeface="Calibri" panose="020F0502020204030204"/>
              <a:cs typeface="Arial"/>
              <a:sym typeface="Arial"/>
            </a:endParaRPr>
          </a:p>
        </p:txBody>
      </p:sp>
      <p:cxnSp>
        <p:nvCxnSpPr>
          <p:cNvPr id="35" name="Straight Connector 34">
            <a:extLst>
              <a:ext uri="{FF2B5EF4-FFF2-40B4-BE49-F238E27FC236}">
                <a16:creationId xmlns:a16="http://schemas.microsoft.com/office/drawing/2014/main" id="{10F44A0B-44A7-0066-B0BB-AFADDD7A462A}"/>
              </a:ext>
            </a:extLst>
          </p:cNvPr>
          <p:cNvCxnSpPr/>
          <p:nvPr/>
        </p:nvCxnSpPr>
        <p:spPr>
          <a:xfrm>
            <a:off x="694237" y="5333549"/>
            <a:ext cx="3266059" cy="0"/>
          </a:xfrm>
          <a:prstGeom prst="line">
            <a:avLst/>
          </a:prstGeom>
          <a:ln>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8324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EOvDAAg8kg2cvbrebxA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ZzbFPeJl2HOzH79zldp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Infomineo_Dark Colors">
      <a:dk1>
        <a:srgbClr val="444444"/>
      </a:dk1>
      <a:lt1>
        <a:srgbClr val="FFFFFF"/>
      </a:lt1>
      <a:dk2>
        <a:srgbClr val="0F47F2"/>
      </a:dk2>
      <a:lt2>
        <a:srgbClr val="E6EBF5"/>
      </a:lt2>
      <a:accent1>
        <a:srgbClr val="00B9FF"/>
      </a:accent1>
      <a:accent2>
        <a:srgbClr val="BEBEBE"/>
      </a:accent2>
      <a:accent3>
        <a:srgbClr val="158177"/>
      </a:accent3>
      <a:accent4>
        <a:srgbClr val="00B050"/>
      </a:accent4>
      <a:accent5>
        <a:srgbClr val="FFD700"/>
      </a:accent5>
      <a:accent6>
        <a:srgbClr val="5014B4"/>
      </a:accent6>
      <a:hlink>
        <a:srgbClr val="0F47F2"/>
      </a:hlink>
      <a:folHlink>
        <a:srgbClr val="999A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TotalTime>
  <Words>268</Words>
  <Application>Microsoft Office PowerPoint</Application>
  <PresentationFormat>Widescreen</PresentationFormat>
  <Paragraphs>30</Paragraphs>
  <Slides>1</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alibri Light</vt:lpstr>
      <vt:lpstr>Franklin Gothic</vt:lpstr>
      <vt:lpstr>Franklin Gothic Demi</vt:lpstr>
      <vt:lpstr>Libre Franklin</vt:lpstr>
      <vt:lpstr>Noto Sans Symbols</vt:lpstr>
      <vt:lpstr>Wingdings</vt:lpstr>
      <vt:lpstr>Wingdings 2</vt:lpstr>
      <vt:lpstr>2_Office Theme</vt:lpstr>
      <vt:lpstr>think-cell Slide</vt:lpstr>
      <vt:lpstr>Streamlining IT Inventory Management with Data Analytic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amlining IT Inventory Management with Data Analytics</dc:title>
  <dc:creator>Casa 3</dc:creator>
  <cp:lastModifiedBy>Casa 3</cp:lastModifiedBy>
  <cp:revision>1</cp:revision>
  <dcterms:created xsi:type="dcterms:W3CDTF">2023-09-07T13:54:09Z</dcterms:created>
  <dcterms:modified xsi:type="dcterms:W3CDTF">2023-09-07T14:14:14Z</dcterms:modified>
</cp:coreProperties>
</file>